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3" r:id="rId5"/>
  </p:sldMasterIdLst>
  <p:notesMasterIdLst>
    <p:notesMasterId r:id="rId11"/>
  </p:notesMasterIdLst>
  <p:sldIdLst>
    <p:sldId id="2147375592" r:id="rId6"/>
    <p:sldId id="2147375593" r:id="rId7"/>
    <p:sldId id="4009" r:id="rId8"/>
    <p:sldId id="4007" r:id="rId9"/>
    <p:sldId id="4010" r:id="rId10"/>
  </p:sldIdLst>
  <p:sldSz cx="12192000" cy="6858000"/>
  <p:notesSz cx="6858000" cy="9144000"/>
  <p:defaultTextStyle>
    <a:defPPr>
      <a:defRPr lang="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9884AD-B580-4745-8277-6F0A37A900E1}" v="86" dt="2025-06-04T13:34:08.27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740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130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B4D3AF-E20E-4CAC-A170-6016665D5C2C}" type="datetimeFigureOut">
              <a:rPr lang="en-CH" smtClean="0"/>
              <a:t>06/11/2025</a:t>
            </a:fld>
            <a:endParaRPr lang="en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D6407C-F1E5-4B74-B3D5-F997E1618AD8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4749601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174689-BECC-4390-B3B9-306A17FD432A}" type="slidenum">
              <a:rPr kumimoji="0" lang="en-US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30896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CB4AA6-F390-8332-6276-3081B429F9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AB09B9CF-AF4A-456B-D0B4-0ED960D95B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9B7E459E-96A0-3FF4-ABF3-7A8A56DD94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H" sz="800" b="1" u="none" dirty="0" err="1"/>
              <a:t>Ejercicio</a:t>
            </a:r>
            <a:endParaRPr lang="en-GB" sz="800" b="1" u="none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078719C-FA26-DEBD-A7C7-A9D6D30BC88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6FEC81-9C20-4584-B604-E4706796B489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14175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5A1600-0ECF-798F-D0FC-8711F3A220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9748C7E6-4A9E-84BB-5512-64D315DF15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C7726A96-D0A7-7BE1-5BF4-1111D5ABD3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800" b="1" u="none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57FE47DB-2B23-D6EB-8523-9A22D476F3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6FEC81-9C20-4584-B604-E4706796B489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4528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6397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46230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496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ortada_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11"/>
          <p:cNvSpPr/>
          <p:nvPr/>
        </p:nvSpPr>
        <p:spPr>
          <a:xfrm rot="18900000">
            <a:off x="-3316712" y="1352792"/>
            <a:ext cx="11835030" cy="2519301"/>
          </a:xfrm>
          <a:prstGeom prst="rect">
            <a:avLst/>
          </a:prstGeom>
          <a:solidFill>
            <a:srgbClr val="011E41"/>
          </a:solidFill>
          <a:ln w="12700">
            <a:miter lim="400000"/>
          </a:ln>
        </p:spPr>
        <p:txBody>
          <a:bodyPr lIns="30479" rIns="30479" anchor="ctr"/>
          <a:lstStyle/>
          <a:p>
            <a:pPr algn="ctr">
              <a:defRPr>
                <a:solidFill>
                  <a:srgbClr val="3F3F3F"/>
                </a:solidFill>
              </a:defRPr>
            </a:pPr>
            <a:endParaRPr sz="1200"/>
          </a:p>
        </p:txBody>
      </p:sp>
      <p:sp>
        <p:nvSpPr>
          <p:cNvPr id="62" name="Rectangle 10"/>
          <p:cNvSpPr/>
          <p:nvPr/>
        </p:nvSpPr>
        <p:spPr>
          <a:xfrm rot="18900000">
            <a:off x="8490304" y="4724887"/>
            <a:ext cx="5548653" cy="2742227"/>
          </a:xfrm>
          <a:prstGeom prst="rect">
            <a:avLst/>
          </a:prstGeom>
          <a:solidFill>
            <a:schemeClr val="accent2">
              <a:lumOff val="9019"/>
            </a:schemeClr>
          </a:solidFill>
          <a:ln w="12700">
            <a:miter lim="400000"/>
          </a:ln>
        </p:spPr>
        <p:txBody>
          <a:bodyPr lIns="30479" rIns="30479" anchor="ctr"/>
          <a:lstStyle/>
          <a:p>
            <a:pPr algn="ctr">
              <a:defRPr>
                <a:solidFill>
                  <a:schemeClr val="accent2">
                    <a:lumOff val="9019"/>
                  </a:schemeClr>
                </a:solidFill>
              </a:defRPr>
            </a:pPr>
            <a:endParaRPr sz="1200"/>
          </a:p>
        </p:txBody>
      </p:sp>
      <p:pic>
        <p:nvPicPr>
          <p:cNvPr id="63" name="Picture 2" descr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776919" y="-4956778"/>
            <a:ext cx="13491207" cy="13491207"/>
          </a:xfrm>
          <a:prstGeom prst="rect">
            <a:avLst/>
          </a:prstGeom>
          <a:ln w="12700">
            <a:miter lim="400000"/>
          </a:ln>
        </p:spPr>
      </p:pic>
      <p:sp>
        <p:nvSpPr>
          <p:cNvPr id="64" name="Rectangle 4"/>
          <p:cNvSpPr/>
          <p:nvPr/>
        </p:nvSpPr>
        <p:spPr>
          <a:xfrm rot="18900000">
            <a:off x="-1662413" y="-363698"/>
            <a:ext cx="5053401" cy="2417059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30479" rIns="30479" anchor="ctr"/>
          <a:lstStyle/>
          <a:p>
            <a:pPr algn="ctr">
              <a:defRPr>
                <a:solidFill>
                  <a:srgbClr val="3F3F3F"/>
                </a:solidFill>
              </a:defRPr>
            </a:pPr>
            <a:endParaRPr sz="1200"/>
          </a:p>
        </p:txBody>
      </p:sp>
      <p:sp>
        <p:nvSpPr>
          <p:cNvPr id="65" name="TextBox 18"/>
          <p:cNvSpPr txBox="1">
            <a:spLocks noGrp="1"/>
          </p:cNvSpPr>
          <p:nvPr>
            <p:ph type="body" sz="quarter" idx="21"/>
          </p:nvPr>
        </p:nvSpPr>
        <p:spPr>
          <a:xfrm>
            <a:off x="7992450" y="6024575"/>
            <a:ext cx="3405213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 defTabSz="60963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600" b="1">
                <a:solidFill>
                  <a:srgbClr val="011E41"/>
                </a:solidFill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</a:lstStyle>
          <a:p>
            <a:r>
              <a:t>22 junio 2021</a:t>
            </a:r>
          </a:p>
        </p:txBody>
      </p:sp>
      <p:sp>
        <p:nvSpPr>
          <p:cNvPr id="67" name="Title 3"/>
          <p:cNvSpPr txBox="1">
            <a:spLocks noGrp="1"/>
          </p:cNvSpPr>
          <p:nvPr>
            <p:ph type="body" sz="quarter" idx="22"/>
          </p:nvPr>
        </p:nvSpPr>
        <p:spPr>
          <a:xfrm>
            <a:off x="4649972" y="3904198"/>
            <a:ext cx="6778171" cy="166005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 algn="r" defTabSz="823000">
              <a:lnSpc>
                <a:spcPct val="80000"/>
              </a:lnSpc>
              <a:spcBef>
                <a:spcPts val="0"/>
              </a:spcBef>
              <a:buSzTx/>
              <a:buFontTx/>
              <a:buNone/>
              <a:defRPr sz="5940">
                <a:solidFill>
                  <a:schemeClr val="accent3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dirty="0"/>
              <a:t>COLOCAR</a:t>
            </a:r>
          </a:p>
          <a:p>
            <a:pPr marL="0" indent="0" algn="r" defTabSz="823000">
              <a:lnSpc>
                <a:spcPct val="80000"/>
              </a:lnSpc>
              <a:spcBef>
                <a:spcPts val="0"/>
              </a:spcBef>
              <a:buSzTx/>
              <a:buFontTx/>
              <a:buNone/>
              <a:defRPr sz="5940">
                <a:solidFill>
                  <a:schemeClr val="accent3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dirty="0"/>
              <a:t>TÍTULO</a:t>
            </a:r>
          </a:p>
          <a:p>
            <a:pPr marL="0" indent="0" algn="r" defTabSz="823000">
              <a:lnSpc>
                <a:spcPct val="80000"/>
              </a:lnSpc>
              <a:spcBef>
                <a:spcPts val="0"/>
              </a:spcBef>
              <a:buSzTx/>
              <a:buFontTx/>
              <a:buNone/>
              <a:defRPr sz="5940">
                <a:solidFill>
                  <a:schemeClr val="accent3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dirty="0"/>
              <a:t>DOCUMENTO</a:t>
            </a:r>
          </a:p>
        </p:txBody>
      </p:sp>
      <p:sp>
        <p:nvSpPr>
          <p:cNvPr id="68" name="Número de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F10CFE16-50E5-4333-BC88-F78D51C025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9590" y="5826642"/>
            <a:ext cx="2723621" cy="775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48418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drawing&#10;&#10;Description automatically generated">
            <a:extLst>
              <a:ext uri="{FF2B5EF4-FFF2-40B4-BE49-F238E27FC236}">
                <a16:creationId xmlns:a16="http://schemas.microsoft.com/office/drawing/2014/main" id="{6B6DBBC3-86DC-5F4C-B2A9-988714CAC1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88" t="20364" r="18394" b="20623"/>
          <a:stretch/>
        </p:blipFill>
        <p:spPr>
          <a:xfrm>
            <a:off x="44605" y="37165"/>
            <a:ext cx="897123" cy="83249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F824324-669C-6477-38DD-4A59C18B941D}"/>
              </a:ext>
            </a:extLst>
          </p:cNvPr>
          <p:cNvSpPr txBox="1"/>
          <p:nvPr userDrawn="1"/>
        </p:nvSpPr>
        <p:spPr>
          <a:xfrm>
            <a:off x="11722044" y="6596913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Montserrat" pitchFamily="2" charset="77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Montserrat" pitchFamily="2" charset="77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96446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rgbClr val="011E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drawing&#10;&#10;Description automatically generated">
            <a:extLst>
              <a:ext uri="{FF2B5EF4-FFF2-40B4-BE49-F238E27FC236}">
                <a16:creationId xmlns:a16="http://schemas.microsoft.com/office/drawing/2014/main" id="{6B6DBBC3-86DC-5F4C-B2A9-988714CAC1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0339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F78AF54-799E-FA4D-8805-CF18392EBDEE}"/>
              </a:ext>
            </a:extLst>
          </p:cNvPr>
          <p:cNvSpPr txBox="1"/>
          <p:nvPr userDrawn="1"/>
        </p:nvSpPr>
        <p:spPr>
          <a:xfrm>
            <a:off x="11730510" y="6596912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7D970848-52D8-41A5-C61B-910C0F2C40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12" t="19565" r="21192" b="18341"/>
          <a:stretch/>
        </p:blipFill>
        <p:spPr>
          <a:xfrm>
            <a:off x="11379144" y="129915"/>
            <a:ext cx="685857" cy="763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1224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">
    <p:bg>
      <p:bgPr>
        <a:solidFill>
          <a:srgbClr val="011E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F78AF54-799E-FA4D-8805-CF18392EBDEE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solidFill>
                  <a:schemeClr val="bg2"/>
                </a:solidFill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solidFill>
                <a:schemeClr val="bg2"/>
              </a:solidFill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5169F-3487-C34A-8648-00A55A947DCB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95CDBC43-5708-7542-AEBD-02E226C16C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4781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6686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06023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C0A2101-61D7-AF4B-A441-726BB399FFA4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096F9BB-D834-7942-914A-12A6278D671D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549EC8F4-17F2-E444-800B-3322C7DE1F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942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7121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3AE113F-4104-7B4B-BCEC-32878E6D4279}"/>
              </a:ext>
            </a:extLst>
          </p:cNvPr>
          <p:cNvSpPr/>
          <p:nvPr userDrawn="1"/>
        </p:nvSpPr>
        <p:spPr>
          <a:xfrm rot="18900000">
            <a:off x="8490305" y="4724158"/>
            <a:ext cx="5548651" cy="274180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7C7D1C5-83E5-D540-89AF-855CAB1074D5}"/>
              </a:ext>
            </a:extLst>
          </p:cNvPr>
          <p:cNvSpPr/>
          <p:nvPr userDrawn="1"/>
        </p:nvSpPr>
        <p:spPr>
          <a:xfrm rot="18900000">
            <a:off x="-1662413" y="-363642"/>
            <a:ext cx="5053400" cy="2416686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D007D238-3D96-9F43-BDAC-9FA1123FA7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31058" cy="1788550"/>
          </a:xfrm>
          <a:prstGeom prst="rect">
            <a:avLst/>
          </a:prstGeom>
        </p:spPr>
      </p:pic>
      <p:sp>
        <p:nvSpPr>
          <p:cNvPr id="29" name="Title 4">
            <a:extLst>
              <a:ext uri="{FF2B5EF4-FFF2-40B4-BE49-F238E27FC236}">
                <a16:creationId xmlns:a16="http://schemas.microsoft.com/office/drawing/2014/main" id="{9447A1D1-1B5C-E848-96B6-7F6C6F8B07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49972" y="3869734"/>
            <a:ext cx="6778170" cy="1659794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4400" b="1" i="0" spc="0">
                <a:solidFill>
                  <a:srgbClr val="F5333F"/>
                </a:solidFill>
                <a:latin typeface="Montserrat" pitchFamily="2" charset="77"/>
              </a:defRPr>
            </a:lvl1pPr>
          </a:lstStyle>
          <a:p>
            <a:r>
              <a:rPr lang="en-US"/>
              <a:t>CLICK TO EDIT: </a:t>
            </a:r>
            <a:br>
              <a:rPr lang="en-US"/>
            </a:br>
            <a:r>
              <a:rPr lang="en-US"/>
              <a:t>THE HEADLINE 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23D72ED-CD5D-C748-B94B-F037960A2C78}"/>
              </a:ext>
            </a:extLst>
          </p:cNvPr>
          <p:cNvSpPr txBox="1"/>
          <p:nvPr userDrawn="1"/>
        </p:nvSpPr>
        <p:spPr>
          <a:xfrm>
            <a:off x="7961970" y="6023645"/>
            <a:ext cx="3466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CEE42E42-3F74-A040-9795-FDEDABB6AC51}" type="datetime3">
              <a:rPr lang="en-US" sz="1600" b="1" i="0" smtClean="0">
                <a:solidFill>
                  <a:srgbClr val="011E41"/>
                </a:solidFill>
                <a:latin typeface="Montserrat SemiBold" pitchFamily="2" charset="77"/>
                <a:ea typeface="Open Sans" panose="020B0606030504020204" pitchFamily="34" charset="0"/>
                <a:cs typeface="Open Sans" panose="020B0606030504020204" pitchFamily="34" charset="0"/>
              </a:rPr>
              <a:t>11 June 2025</a:t>
            </a:fld>
            <a:endParaRPr lang="en-US" sz="1600" b="1" i="0">
              <a:solidFill>
                <a:srgbClr val="011E41"/>
              </a:solidFill>
              <a:latin typeface="Montserrat SemiBold" pitchFamily="2" charset="77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68359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8961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">
    <p:bg>
      <p:bgPr>
        <a:solidFill>
          <a:srgbClr val="011E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icture containing drawing&#10;&#10;Description automatically generated">
            <a:extLst>
              <a:ext uri="{FF2B5EF4-FFF2-40B4-BE49-F238E27FC236}">
                <a16:creationId xmlns:a16="http://schemas.microsoft.com/office/drawing/2014/main" id="{33AB59D8-6DBE-8341-B46F-0D6FE02417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31058" cy="1788550"/>
          </a:xfrm>
          <a:prstGeom prst="rect">
            <a:avLst/>
          </a:prstGeom>
        </p:spPr>
      </p:pic>
      <p:sp>
        <p:nvSpPr>
          <p:cNvPr id="20" name="Title 4">
            <a:extLst>
              <a:ext uri="{FF2B5EF4-FFF2-40B4-BE49-F238E27FC236}">
                <a16:creationId xmlns:a16="http://schemas.microsoft.com/office/drawing/2014/main" id="{0F5EFF66-D2D9-684B-8ED9-238F84164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49972" y="3869734"/>
            <a:ext cx="6778170" cy="1659794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4400" b="1" i="0" spc="0">
                <a:solidFill>
                  <a:srgbClr val="F5333F"/>
                </a:solidFill>
                <a:latin typeface="Montserrat" pitchFamily="2" charset="77"/>
              </a:defRPr>
            </a:lvl1pPr>
          </a:lstStyle>
          <a:p>
            <a:r>
              <a:rPr lang="en-US"/>
              <a:t>CLICK TO EDIT: </a:t>
            </a:r>
            <a:br>
              <a:rPr lang="en-US"/>
            </a:br>
            <a:r>
              <a:rPr lang="en-US"/>
              <a:t>THE HEADLINE 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23881EF-09C3-3C4E-B7E9-9F9B004EE7D2}"/>
              </a:ext>
            </a:extLst>
          </p:cNvPr>
          <p:cNvSpPr txBox="1"/>
          <p:nvPr userDrawn="1"/>
        </p:nvSpPr>
        <p:spPr>
          <a:xfrm>
            <a:off x="7961970" y="6023645"/>
            <a:ext cx="3466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CEE42E42-3F74-A040-9795-FDEDABB6AC51}" type="datetime3">
              <a:rPr lang="en-US" sz="1600" b="1" i="0" smtClean="0">
                <a:solidFill>
                  <a:schemeClr val="bg2"/>
                </a:solidFill>
                <a:latin typeface="Montserrat SemiBold" pitchFamily="2" charset="77"/>
                <a:ea typeface="Open Sans" panose="020B0606030504020204" pitchFamily="34" charset="0"/>
                <a:cs typeface="Open Sans" panose="020B0606030504020204" pitchFamily="34" charset="0"/>
              </a:rPr>
              <a:t>11 June 2025</a:t>
            </a:fld>
            <a:endParaRPr lang="en-US" sz="1600" b="1" i="0">
              <a:solidFill>
                <a:schemeClr val="bg2"/>
              </a:solidFill>
              <a:latin typeface="Montserrat SemiBold" pitchFamily="2" charset="77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23391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4C3F4D2-F875-BD4F-B83B-F27A931894EA}"/>
              </a:ext>
            </a:extLst>
          </p:cNvPr>
          <p:cNvSpPr/>
          <p:nvPr userDrawn="1"/>
        </p:nvSpPr>
        <p:spPr>
          <a:xfrm rot="18900000">
            <a:off x="-3316713" y="1352583"/>
            <a:ext cx="11835029" cy="2518911"/>
          </a:xfrm>
          <a:prstGeom prst="rect">
            <a:avLst/>
          </a:prstGeom>
          <a:solidFill>
            <a:srgbClr val="011E4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E2A73C6-B9A2-AA43-88BA-C71C35C4D30B}"/>
              </a:ext>
            </a:extLst>
          </p:cNvPr>
          <p:cNvSpPr/>
          <p:nvPr userDrawn="1"/>
        </p:nvSpPr>
        <p:spPr>
          <a:xfrm rot="18900000">
            <a:off x="8490305" y="4724158"/>
            <a:ext cx="5548651" cy="2741803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Picture 2" descr="A sign in the dark&#10;&#10;Description automatically generated">
            <a:extLst>
              <a:ext uri="{FF2B5EF4-FFF2-40B4-BE49-F238E27FC236}">
                <a16:creationId xmlns:a16="http://schemas.microsoft.com/office/drawing/2014/main" id="{FF205456-8ECD-194C-AC27-FA37AF6AB2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76919" y="-4956012"/>
            <a:ext cx="13491207" cy="1348912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8A4BE0A-2405-3B4D-B459-F6467825FC42}"/>
              </a:ext>
            </a:extLst>
          </p:cNvPr>
          <p:cNvSpPr/>
          <p:nvPr userDrawn="1"/>
        </p:nvSpPr>
        <p:spPr>
          <a:xfrm rot="18900000">
            <a:off x="-1662413" y="-363642"/>
            <a:ext cx="5053400" cy="2416686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CC7E1DF3-B6FE-1646-9E74-487807C74F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31058" cy="1788550"/>
          </a:xfrm>
          <a:prstGeom prst="rect">
            <a:avLst/>
          </a:prstGeom>
        </p:spPr>
      </p:pic>
      <p:sp>
        <p:nvSpPr>
          <p:cNvPr id="20" name="Title 4">
            <a:extLst>
              <a:ext uri="{FF2B5EF4-FFF2-40B4-BE49-F238E27FC236}">
                <a16:creationId xmlns:a16="http://schemas.microsoft.com/office/drawing/2014/main" id="{0DCCA5A1-56F4-3C48-9CEB-BC2BDF118A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49972" y="3869734"/>
            <a:ext cx="6778170" cy="1659794"/>
          </a:xfrm>
          <a:prstGeom prst="rect">
            <a:avLst/>
          </a:prstGeom>
        </p:spPr>
        <p:txBody>
          <a:bodyPr/>
          <a:lstStyle>
            <a:lvl1pPr algn="r">
              <a:lnSpc>
                <a:spcPct val="80000"/>
              </a:lnSpc>
              <a:defRPr sz="4400" b="1" i="0" spc="0">
                <a:solidFill>
                  <a:srgbClr val="F5333F"/>
                </a:solidFill>
                <a:latin typeface="Montserrat" pitchFamily="2" charset="77"/>
              </a:defRPr>
            </a:lvl1pPr>
          </a:lstStyle>
          <a:p>
            <a:r>
              <a:rPr lang="en-US"/>
              <a:t>CLICK TO EDIT: </a:t>
            </a:r>
            <a:br>
              <a:rPr lang="en-US"/>
            </a:br>
            <a:r>
              <a:rPr lang="en-US"/>
              <a:t>THE HEADLINE </a:t>
            </a:r>
            <a:br>
              <a:rPr lang="en-US"/>
            </a:br>
            <a:r>
              <a:rPr lang="en-US"/>
              <a:t>GOES HERE</a:t>
            </a:r>
          </a:p>
        </p:txBody>
      </p:sp>
    </p:spTree>
    <p:extLst>
      <p:ext uri="{BB962C8B-B14F-4D97-AF65-F5344CB8AC3E}">
        <p14:creationId xmlns:p14="http://schemas.microsoft.com/office/powerpoint/2010/main" val="22531030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 noChangeArrowheads="1"/>
          </p:cNvSpPr>
          <p:nvPr>
            <p:ph type="pic" sz="quarter" idx="10"/>
          </p:nvPr>
        </p:nvSpPr>
        <p:spPr bwMode="auto">
          <a:xfrm>
            <a:off x="255371" y="225394"/>
            <a:ext cx="11681263" cy="6415682"/>
          </a:xfrm>
          <a:custGeom>
            <a:avLst/>
            <a:gdLst>
              <a:gd name="connsiteX0" fmla="*/ 11029406 w 17521894"/>
              <a:gd name="connsiteY0" fmla="*/ 8664710 h 9625007"/>
              <a:gd name="connsiteX1" fmla="*/ 12012778 w 17521894"/>
              <a:gd name="connsiteY1" fmla="*/ 8664710 h 9625007"/>
              <a:gd name="connsiteX2" fmla="*/ 12012778 w 17521894"/>
              <a:gd name="connsiteY2" fmla="*/ 9625007 h 9625007"/>
              <a:gd name="connsiteX3" fmla="*/ 11029406 w 17521894"/>
              <a:gd name="connsiteY3" fmla="*/ 9625007 h 9625007"/>
              <a:gd name="connsiteX4" fmla="*/ 7732871 w 17521894"/>
              <a:gd name="connsiteY4" fmla="*/ 8664710 h 9625007"/>
              <a:gd name="connsiteX5" fmla="*/ 8716243 w 17521894"/>
              <a:gd name="connsiteY5" fmla="*/ 8664710 h 9625007"/>
              <a:gd name="connsiteX6" fmla="*/ 8716243 w 17521894"/>
              <a:gd name="connsiteY6" fmla="*/ 9625007 h 9625007"/>
              <a:gd name="connsiteX7" fmla="*/ 7732871 w 17521894"/>
              <a:gd name="connsiteY7" fmla="*/ 9625007 h 9625007"/>
              <a:gd name="connsiteX8" fmla="*/ 3307702 w 17521894"/>
              <a:gd name="connsiteY8" fmla="*/ 8664710 h 9625007"/>
              <a:gd name="connsiteX9" fmla="*/ 4291075 w 17521894"/>
              <a:gd name="connsiteY9" fmla="*/ 8664710 h 9625007"/>
              <a:gd name="connsiteX10" fmla="*/ 4291075 w 17521894"/>
              <a:gd name="connsiteY10" fmla="*/ 9625007 h 9625007"/>
              <a:gd name="connsiteX11" fmla="*/ 3307702 w 17521894"/>
              <a:gd name="connsiteY11" fmla="*/ 9625007 h 9625007"/>
              <a:gd name="connsiteX12" fmla="*/ 22341 w 17521894"/>
              <a:gd name="connsiteY12" fmla="*/ 8664710 h 9625007"/>
              <a:gd name="connsiteX13" fmla="*/ 994541 w 17521894"/>
              <a:gd name="connsiteY13" fmla="*/ 8664710 h 9625007"/>
              <a:gd name="connsiteX14" fmla="*/ 994541 w 17521894"/>
              <a:gd name="connsiteY14" fmla="*/ 9625007 h 9625007"/>
              <a:gd name="connsiteX15" fmla="*/ 22341 w 17521894"/>
              <a:gd name="connsiteY15" fmla="*/ 9625007 h 9625007"/>
              <a:gd name="connsiteX16" fmla="*/ 16538522 w 17521894"/>
              <a:gd name="connsiteY16" fmla="*/ 8653670 h 9625007"/>
              <a:gd name="connsiteX17" fmla="*/ 17510722 w 17521894"/>
              <a:gd name="connsiteY17" fmla="*/ 8653670 h 9625007"/>
              <a:gd name="connsiteX18" fmla="*/ 17510722 w 17521894"/>
              <a:gd name="connsiteY18" fmla="*/ 9613967 h 9625007"/>
              <a:gd name="connsiteX19" fmla="*/ 16538522 w 17521894"/>
              <a:gd name="connsiteY19" fmla="*/ 9613967 h 9625007"/>
              <a:gd name="connsiteX20" fmla="*/ 15432232 w 17521894"/>
              <a:gd name="connsiteY20" fmla="*/ 8653670 h 9625007"/>
              <a:gd name="connsiteX21" fmla="*/ 16415604 w 17521894"/>
              <a:gd name="connsiteY21" fmla="*/ 8653670 h 9625007"/>
              <a:gd name="connsiteX22" fmla="*/ 16415604 w 17521894"/>
              <a:gd name="connsiteY22" fmla="*/ 9613967 h 9625007"/>
              <a:gd name="connsiteX23" fmla="*/ 15432232 w 17521894"/>
              <a:gd name="connsiteY23" fmla="*/ 9613967 h 9625007"/>
              <a:gd name="connsiteX24" fmla="*/ 14314763 w 17521894"/>
              <a:gd name="connsiteY24" fmla="*/ 8653670 h 9625007"/>
              <a:gd name="connsiteX25" fmla="*/ 15298135 w 17521894"/>
              <a:gd name="connsiteY25" fmla="*/ 8653670 h 9625007"/>
              <a:gd name="connsiteX26" fmla="*/ 15298135 w 17521894"/>
              <a:gd name="connsiteY26" fmla="*/ 9613967 h 9625007"/>
              <a:gd name="connsiteX27" fmla="*/ 14314763 w 17521894"/>
              <a:gd name="connsiteY27" fmla="*/ 9613967 h 9625007"/>
              <a:gd name="connsiteX28" fmla="*/ 13219644 w 17521894"/>
              <a:gd name="connsiteY28" fmla="*/ 8653670 h 9625007"/>
              <a:gd name="connsiteX29" fmla="*/ 14203016 w 17521894"/>
              <a:gd name="connsiteY29" fmla="*/ 8653670 h 9625007"/>
              <a:gd name="connsiteX30" fmla="*/ 14203016 w 17521894"/>
              <a:gd name="connsiteY30" fmla="*/ 9613967 h 9625007"/>
              <a:gd name="connsiteX31" fmla="*/ 13219644 w 17521894"/>
              <a:gd name="connsiteY31" fmla="*/ 9613967 h 9625007"/>
              <a:gd name="connsiteX32" fmla="*/ 12124526 w 17521894"/>
              <a:gd name="connsiteY32" fmla="*/ 8653670 h 9625007"/>
              <a:gd name="connsiteX33" fmla="*/ 13107898 w 17521894"/>
              <a:gd name="connsiteY33" fmla="*/ 8653670 h 9625007"/>
              <a:gd name="connsiteX34" fmla="*/ 13107898 w 17521894"/>
              <a:gd name="connsiteY34" fmla="*/ 9613967 h 9625007"/>
              <a:gd name="connsiteX35" fmla="*/ 12124526 w 17521894"/>
              <a:gd name="connsiteY35" fmla="*/ 9613967 h 9625007"/>
              <a:gd name="connsiteX36" fmla="*/ 9934287 w 17521894"/>
              <a:gd name="connsiteY36" fmla="*/ 8653670 h 9625007"/>
              <a:gd name="connsiteX37" fmla="*/ 10906488 w 17521894"/>
              <a:gd name="connsiteY37" fmla="*/ 8653670 h 9625007"/>
              <a:gd name="connsiteX38" fmla="*/ 10906488 w 17521894"/>
              <a:gd name="connsiteY38" fmla="*/ 9613967 h 9625007"/>
              <a:gd name="connsiteX39" fmla="*/ 9934287 w 17521894"/>
              <a:gd name="connsiteY39" fmla="*/ 9613967 h 9625007"/>
              <a:gd name="connsiteX40" fmla="*/ 8827991 w 17521894"/>
              <a:gd name="connsiteY40" fmla="*/ 8653670 h 9625007"/>
              <a:gd name="connsiteX41" fmla="*/ 9811363 w 17521894"/>
              <a:gd name="connsiteY41" fmla="*/ 8653670 h 9625007"/>
              <a:gd name="connsiteX42" fmla="*/ 9811363 w 17521894"/>
              <a:gd name="connsiteY42" fmla="*/ 9613967 h 9625007"/>
              <a:gd name="connsiteX43" fmla="*/ 8827991 w 17521894"/>
              <a:gd name="connsiteY43" fmla="*/ 9613967 h 9625007"/>
              <a:gd name="connsiteX44" fmla="*/ 6604234 w 17521894"/>
              <a:gd name="connsiteY44" fmla="*/ 8653670 h 9625007"/>
              <a:gd name="connsiteX45" fmla="*/ 7576436 w 17521894"/>
              <a:gd name="connsiteY45" fmla="*/ 8653670 h 9625007"/>
              <a:gd name="connsiteX46" fmla="*/ 7576436 w 17521894"/>
              <a:gd name="connsiteY46" fmla="*/ 9613967 h 9625007"/>
              <a:gd name="connsiteX47" fmla="*/ 6604234 w 17521894"/>
              <a:gd name="connsiteY47" fmla="*/ 9613967 h 9625007"/>
              <a:gd name="connsiteX48" fmla="*/ 5509117 w 17521894"/>
              <a:gd name="connsiteY48" fmla="*/ 8653670 h 9625007"/>
              <a:gd name="connsiteX49" fmla="*/ 6481318 w 17521894"/>
              <a:gd name="connsiteY49" fmla="*/ 8653670 h 9625007"/>
              <a:gd name="connsiteX50" fmla="*/ 6481318 w 17521894"/>
              <a:gd name="connsiteY50" fmla="*/ 9613967 h 9625007"/>
              <a:gd name="connsiteX51" fmla="*/ 5509117 w 17521894"/>
              <a:gd name="connsiteY51" fmla="*/ 9613967 h 9625007"/>
              <a:gd name="connsiteX52" fmla="*/ 4402819 w 17521894"/>
              <a:gd name="connsiteY52" fmla="*/ 8653670 h 9625007"/>
              <a:gd name="connsiteX53" fmla="*/ 5386192 w 17521894"/>
              <a:gd name="connsiteY53" fmla="*/ 8653670 h 9625007"/>
              <a:gd name="connsiteX54" fmla="*/ 5386192 w 17521894"/>
              <a:gd name="connsiteY54" fmla="*/ 9613967 h 9625007"/>
              <a:gd name="connsiteX55" fmla="*/ 4402819 w 17521894"/>
              <a:gd name="connsiteY55" fmla="*/ 9613967 h 9625007"/>
              <a:gd name="connsiteX56" fmla="*/ 2212579 w 17521894"/>
              <a:gd name="connsiteY56" fmla="*/ 8653670 h 9625007"/>
              <a:gd name="connsiteX57" fmla="*/ 3195951 w 17521894"/>
              <a:gd name="connsiteY57" fmla="*/ 8653670 h 9625007"/>
              <a:gd name="connsiteX58" fmla="*/ 3195951 w 17521894"/>
              <a:gd name="connsiteY58" fmla="*/ 9613967 h 9625007"/>
              <a:gd name="connsiteX59" fmla="*/ 2212579 w 17521894"/>
              <a:gd name="connsiteY59" fmla="*/ 9613967 h 9625007"/>
              <a:gd name="connsiteX60" fmla="*/ 1117460 w 17521894"/>
              <a:gd name="connsiteY60" fmla="*/ 8653670 h 9625007"/>
              <a:gd name="connsiteX61" fmla="*/ 2100832 w 17521894"/>
              <a:gd name="connsiteY61" fmla="*/ 8653670 h 9625007"/>
              <a:gd name="connsiteX62" fmla="*/ 2100832 w 17521894"/>
              <a:gd name="connsiteY62" fmla="*/ 9613967 h 9625007"/>
              <a:gd name="connsiteX63" fmla="*/ 1117460 w 17521894"/>
              <a:gd name="connsiteY63" fmla="*/ 9613967 h 9625007"/>
              <a:gd name="connsiteX64" fmla="*/ 15432232 w 17521894"/>
              <a:gd name="connsiteY64" fmla="*/ 7583002 h 9625007"/>
              <a:gd name="connsiteX65" fmla="*/ 16415604 w 17521894"/>
              <a:gd name="connsiteY65" fmla="*/ 7583002 h 9625007"/>
              <a:gd name="connsiteX66" fmla="*/ 16415604 w 17521894"/>
              <a:gd name="connsiteY66" fmla="*/ 8543299 h 9625007"/>
              <a:gd name="connsiteX67" fmla="*/ 15432232 w 17521894"/>
              <a:gd name="connsiteY67" fmla="*/ 8543299 h 9625007"/>
              <a:gd name="connsiteX68" fmla="*/ 13219644 w 17521894"/>
              <a:gd name="connsiteY68" fmla="*/ 7583002 h 9625007"/>
              <a:gd name="connsiteX69" fmla="*/ 14203016 w 17521894"/>
              <a:gd name="connsiteY69" fmla="*/ 7583002 h 9625007"/>
              <a:gd name="connsiteX70" fmla="*/ 14203016 w 17521894"/>
              <a:gd name="connsiteY70" fmla="*/ 8543299 h 9625007"/>
              <a:gd name="connsiteX71" fmla="*/ 13219644 w 17521894"/>
              <a:gd name="connsiteY71" fmla="*/ 8543299 h 9625007"/>
              <a:gd name="connsiteX72" fmla="*/ 5509118 w 17521894"/>
              <a:gd name="connsiteY72" fmla="*/ 7583002 h 9625007"/>
              <a:gd name="connsiteX73" fmla="*/ 6481320 w 17521894"/>
              <a:gd name="connsiteY73" fmla="*/ 7583002 h 9625007"/>
              <a:gd name="connsiteX74" fmla="*/ 6481320 w 17521894"/>
              <a:gd name="connsiteY74" fmla="*/ 8543299 h 9625007"/>
              <a:gd name="connsiteX75" fmla="*/ 5509118 w 17521894"/>
              <a:gd name="connsiteY75" fmla="*/ 8543299 h 9625007"/>
              <a:gd name="connsiteX76" fmla="*/ 16538522 w 17521894"/>
              <a:gd name="connsiteY76" fmla="*/ 7571960 h 9625007"/>
              <a:gd name="connsiteX77" fmla="*/ 17510722 w 17521894"/>
              <a:gd name="connsiteY77" fmla="*/ 7571960 h 9625007"/>
              <a:gd name="connsiteX78" fmla="*/ 17510722 w 17521894"/>
              <a:gd name="connsiteY78" fmla="*/ 8532257 h 9625007"/>
              <a:gd name="connsiteX79" fmla="*/ 16538522 w 17521894"/>
              <a:gd name="connsiteY79" fmla="*/ 8532257 h 9625007"/>
              <a:gd name="connsiteX80" fmla="*/ 14314763 w 17521894"/>
              <a:gd name="connsiteY80" fmla="*/ 7571960 h 9625007"/>
              <a:gd name="connsiteX81" fmla="*/ 15298135 w 17521894"/>
              <a:gd name="connsiteY81" fmla="*/ 7571960 h 9625007"/>
              <a:gd name="connsiteX82" fmla="*/ 15298135 w 17521894"/>
              <a:gd name="connsiteY82" fmla="*/ 8532257 h 9625007"/>
              <a:gd name="connsiteX83" fmla="*/ 14314763 w 17521894"/>
              <a:gd name="connsiteY83" fmla="*/ 8532257 h 9625007"/>
              <a:gd name="connsiteX84" fmla="*/ 12124526 w 17521894"/>
              <a:gd name="connsiteY84" fmla="*/ 7571960 h 9625007"/>
              <a:gd name="connsiteX85" fmla="*/ 13107898 w 17521894"/>
              <a:gd name="connsiteY85" fmla="*/ 7571960 h 9625007"/>
              <a:gd name="connsiteX86" fmla="*/ 13107898 w 17521894"/>
              <a:gd name="connsiteY86" fmla="*/ 8532257 h 9625007"/>
              <a:gd name="connsiteX87" fmla="*/ 12124526 w 17521894"/>
              <a:gd name="connsiteY87" fmla="*/ 8532257 h 9625007"/>
              <a:gd name="connsiteX88" fmla="*/ 11029406 w 17521894"/>
              <a:gd name="connsiteY88" fmla="*/ 7571960 h 9625007"/>
              <a:gd name="connsiteX89" fmla="*/ 12012778 w 17521894"/>
              <a:gd name="connsiteY89" fmla="*/ 7571960 h 9625007"/>
              <a:gd name="connsiteX90" fmla="*/ 12012778 w 17521894"/>
              <a:gd name="connsiteY90" fmla="*/ 8532257 h 9625007"/>
              <a:gd name="connsiteX91" fmla="*/ 11029406 w 17521894"/>
              <a:gd name="connsiteY91" fmla="*/ 8532257 h 9625007"/>
              <a:gd name="connsiteX92" fmla="*/ 9934287 w 17521894"/>
              <a:gd name="connsiteY92" fmla="*/ 7571960 h 9625007"/>
              <a:gd name="connsiteX93" fmla="*/ 10906488 w 17521894"/>
              <a:gd name="connsiteY93" fmla="*/ 7571960 h 9625007"/>
              <a:gd name="connsiteX94" fmla="*/ 10906488 w 17521894"/>
              <a:gd name="connsiteY94" fmla="*/ 8532257 h 9625007"/>
              <a:gd name="connsiteX95" fmla="*/ 9934287 w 17521894"/>
              <a:gd name="connsiteY95" fmla="*/ 8532257 h 9625007"/>
              <a:gd name="connsiteX96" fmla="*/ 8827991 w 17521894"/>
              <a:gd name="connsiteY96" fmla="*/ 7571960 h 9625007"/>
              <a:gd name="connsiteX97" fmla="*/ 9811363 w 17521894"/>
              <a:gd name="connsiteY97" fmla="*/ 7571960 h 9625007"/>
              <a:gd name="connsiteX98" fmla="*/ 9811363 w 17521894"/>
              <a:gd name="connsiteY98" fmla="*/ 8532257 h 9625007"/>
              <a:gd name="connsiteX99" fmla="*/ 8827991 w 17521894"/>
              <a:gd name="connsiteY99" fmla="*/ 8532257 h 9625007"/>
              <a:gd name="connsiteX100" fmla="*/ 7732872 w 17521894"/>
              <a:gd name="connsiteY100" fmla="*/ 7571960 h 9625007"/>
              <a:gd name="connsiteX101" fmla="*/ 8716243 w 17521894"/>
              <a:gd name="connsiteY101" fmla="*/ 7571960 h 9625007"/>
              <a:gd name="connsiteX102" fmla="*/ 8716243 w 17521894"/>
              <a:gd name="connsiteY102" fmla="*/ 8532257 h 9625007"/>
              <a:gd name="connsiteX103" fmla="*/ 7732872 w 17521894"/>
              <a:gd name="connsiteY103" fmla="*/ 8532257 h 9625007"/>
              <a:gd name="connsiteX104" fmla="*/ 6604242 w 17521894"/>
              <a:gd name="connsiteY104" fmla="*/ 7571960 h 9625007"/>
              <a:gd name="connsiteX105" fmla="*/ 7576440 w 17521894"/>
              <a:gd name="connsiteY105" fmla="*/ 7571960 h 9625007"/>
              <a:gd name="connsiteX106" fmla="*/ 7576440 w 17521894"/>
              <a:gd name="connsiteY106" fmla="*/ 8532257 h 9625007"/>
              <a:gd name="connsiteX107" fmla="*/ 6604242 w 17521894"/>
              <a:gd name="connsiteY107" fmla="*/ 8532257 h 9625007"/>
              <a:gd name="connsiteX108" fmla="*/ 4402819 w 17521894"/>
              <a:gd name="connsiteY108" fmla="*/ 7571960 h 9625007"/>
              <a:gd name="connsiteX109" fmla="*/ 5386192 w 17521894"/>
              <a:gd name="connsiteY109" fmla="*/ 7571960 h 9625007"/>
              <a:gd name="connsiteX110" fmla="*/ 5386192 w 17521894"/>
              <a:gd name="connsiteY110" fmla="*/ 8532257 h 9625007"/>
              <a:gd name="connsiteX111" fmla="*/ 4402819 w 17521894"/>
              <a:gd name="connsiteY111" fmla="*/ 8532257 h 9625007"/>
              <a:gd name="connsiteX112" fmla="*/ 3307702 w 17521894"/>
              <a:gd name="connsiteY112" fmla="*/ 7571960 h 9625007"/>
              <a:gd name="connsiteX113" fmla="*/ 4291075 w 17521894"/>
              <a:gd name="connsiteY113" fmla="*/ 7571960 h 9625007"/>
              <a:gd name="connsiteX114" fmla="*/ 4291075 w 17521894"/>
              <a:gd name="connsiteY114" fmla="*/ 8532257 h 9625007"/>
              <a:gd name="connsiteX115" fmla="*/ 3307702 w 17521894"/>
              <a:gd name="connsiteY115" fmla="*/ 8532257 h 9625007"/>
              <a:gd name="connsiteX116" fmla="*/ 2212585 w 17521894"/>
              <a:gd name="connsiteY116" fmla="*/ 7571960 h 9625007"/>
              <a:gd name="connsiteX117" fmla="*/ 3195957 w 17521894"/>
              <a:gd name="connsiteY117" fmla="*/ 7571960 h 9625007"/>
              <a:gd name="connsiteX118" fmla="*/ 3195957 w 17521894"/>
              <a:gd name="connsiteY118" fmla="*/ 8532257 h 9625007"/>
              <a:gd name="connsiteX119" fmla="*/ 2212585 w 17521894"/>
              <a:gd name="connsiteY119" fmla="*/ 8532257 h 9625007"/>
              <a:gd name="connsiteX120" fmla="*/ 1117465 w 17521894"/>
              <a:gd name="connsiteY120" fmla="*/ 7571960 h 9625007"/>
              <a:gd name="connsiteX121" fmla="*/ 2100838 w 17521894"/>
              <a:gd name="connsiteY121" fmla="*/ 7571960 h 9625007"/>
              <a:gd name="connsiteX122" fmla="*/ 2100838 w 17521894"/>
              <a:gd name="connsiteY122" fmla="*/ 8532257 h 9625007"/>
              <a:gd name="connsiteX123" fmla="*/ 1117465 w 17521894"/>
              <a:gd name="connsiteY123" fmla="*/ 8532257 h 9625007"/>
              <a:gd name="connsiteX124" fmla="*/ 22341 w 17521894"/>
              <a:gd name="connsiteY124" fmla="*/ 7571960 h 9625007"/>
              <a:gd name="connsiteX125" fmla="*/ 994542 w 17521894"/>
              <a:gd name="connsiteY125" fmla="*/ 7571960 h 9625007"/>
              <a:gd name="connsiteX126" fmla="*/ 994542 w 17521894"/>
              <a:gd name="connsiteY126" fmla="*/ 8532257 h 9625007"/>
              <a:gd name="connsiteX127" fmla="*/ 22341 w 17521894"/>
              <a:gd name="connsiteY127" fmla="*/ 8532257 h 9625007"/>
              <a:gd name="connsiteX128" fmla="*/ 12124526 w 17521894"/>
              <a:gd name="connsiteY128" fmla="*/ 3245137 h 9625007"/>
              <a:gd name="connsiteX129" fmla="*/ 13107898 w 17521894"/>
              <a:gd name="connsiteY129" fmla="*/ 3245137 h 9625007"/>
              <a:gd name="connsiteX130" fmla="*/ 13107898 w 17521894"/>
              <a:gd name="connsiteY130" fmla="*/ 4205420 h 9625007"/>
              <a:gd name="connsiteX131" fmla="*/ 12124526 w 17521894"/>
              <a:gd name="connsiteY131" fmla="*/ 4205420 h 9625007"/>
              <a:gd name="connsiteX132" fmla="*/ 4402839 w 17521894"/>
              <a:gd name="connsiteY132" fmla="*/ 3245137 h 9625007"/>
              <a:gd name="connsiteX133" fmla="*/ 5386215 w 17521894"/>
              <a:gd name="connsiteY133" fmla="*/ 3245137 h 9625007"/>
              <a:gd name="connsiteX134" fmla="*/ 5386215 w 17521894"/>
              <a:gd name="connsiteY134" fmla="*/ 4205420 h 9625007"/>
              <a:gd name="connsiteX135" fmla="*/ 4402839 w 17521894"/>
              <a:gd name="connsiteY135" fmla="*/ 4205420 h 9625007"/>
              <a:gd name="connsiteX136" fmla="*/ 8827991 w 17521894"/>
              <a:gd name="connsiteY136" fmla="*/ 3245132 h 9625007"/>
              <a:gd name="connsiteX137" fmla="*/ 9811363 w 17521894"/>
              <a:gd name="connsiteY137" fmla="*/ 3245132 h 9625007"/>
              <a:gd name="connsiteX138" fmla="*/ 9811363 w 17521894"/>
              <a:gd name="connsiteY138" fmla="*/ 4205420 h 9625007"/>
              <a:gd name="connsiteX139" fmla="*/ 8827991 w 17521894"/>
              <a:gd name="connsiteY139" fmla="*/ 4205420 h 9625007"/>
              <a:gd name="connsiteX140" fmla="*/ 1117470 w 17521894"/>
              <a:gd name="connsiteY140" fmla="*/ 3245132 h 9625007"/>
              <a:gd name="connsiteX141" fmla="*/ 2100843 w 17521894"/>
              <a:gd name="connsiteY141" fmla="*/ 3245132 h 9625007"/>
              <a:gd name="connsiteX142" fmla="*/ 2100843 w 17521894"/>
              <a:gd name="connsiteY142" fmla="*/ 4205420 h 9625007"/>
              <a:gd name="connsiteX143" fmla="*/ 1117470 w 17521894"/>
              <a:gd name="connsiteY143" fmla="*/ 4205420 h 9625007"/>
              <a:gd name="connsiteX144" fmla="*/ 2212592 w 17521894"/>
              <a:gd name="connsiteY144" fmla="*/ 3234100 h 9625007"/>
              <a:gd name="connsiteX145" fmla="*/ 3195965 w 17521894"/>
              <a:gd name="connsiteY145" fmla="*/ 3234100 h 9625007"/>
              <a:gd name="connsiteX146" fmla="*/ 3195965 w 17521894"/>
              <a:gd name="connsiteY146" fmla="*/ 4205420 h 9625007"/>
              <a:gd name="connsiteX147" fmla="*/ 2212592 w 17521894"/>
              <a:gd name="connsiteY147" fmla="*/ 4205420 h 9625007"/>
              <a:gd name="connsiteX148" fmla="*/ 13219644 w 17521894"/>
              <a:gd name="connsiteY148" fmla="*/ 3234099 h 9625007"/>
              <a:gd name="connsiteX149" fmla="*/ 14203016 w 17521894"/>
              <a:gd name="connsiteY149" fmla="*/ 3234099 h 9625007"/>
              <a:gd name="connsiteX150" fmla="*/ 14203016 w 17521894"/>
              <a:gd name="connsiteY150" fmla="*/ 4205420 h 9625007"/>
              <a:gd name="connsiteX151" fmla="*/ 13219644 w 17521894"/>
              <a:gd name="connsiteY151" fmla="*/ 4205420 h 9625007"/>
              <a:gd name="connsiteX152" fmla="*/ 9934287 w 17521894"/>
              <a:gd name="connsiteY152" fmla="*/ 3234099 h 9625007"/>
              <a:gd name="connsiteX153" fmla="*/ 10906488 w 17521894"/>
              <a:gd name="connsiteY153" fmla="*/ 3234099 h 9625007"/>
              <a:gd name="connsiteX154" fmla="*/ 10906488 w 17521894"/>
              <a:gd name="connsiteY154" fmla="*/ 4205420 h 9625007"/>
              <a:gd name="connsiteX155" fmla="*/ 9934287 w 17521894"/>
              <a:gd name="connsiteY155" fmla="*/ 4205420 h 9625007"/>
              <a:gd name="connsiteX156" fmla="*/ 5509130 w 17521894"/>
              <a:gd name="connsiteY156" fmla="*/ 3234099 h 9625007"/>
              <a:gd name="connsiteX157" fmla="*/ 6481328 w 17521894"/>
              <a:gd name="connsiteY157" fmla="*/ 3234099 h 9625007"/>
              <a:gd name="connsiteX158" fmla="*/ 6481328 w 17521894"/>
              <a:gd name="connsiteY158" fmla="*/ 4205420 h 9625007"/>
              <a:gd name="connsiteX159" fmla="*/ 5509130 w 17521894"/>
              <a:gd name="connsiteY159" fmla="*/ 4205420 h 9625007"/>
              <a:gd name="connsiteX160" fmla="*/ 15432232 w 17521894"/>
              <a:gd name="connsiteY160" fmla="*/ 3234098 h 9625007"/>
              <a:gd name="connsiteX161" fmla="*/ 16415604 w 17521894"/>
              <a:gd name="connsiteY161" fmla="*/ 3234098 h 9625007"/>
              <a:gd name="connsiteX162" fmla="*/ 16415604 w 17521894"/>
              <a:gd name="connsiteY162" fmla="*/ 4205420 h 9625007"/>
              <a:gd name="connsiteX163" fmla="*/ 15432232 w 17521894"/>
              <a:gd name="connsiteY163" fmla="*/ 4205420 h 9625007"/>
              <a:gd name="connsiteX164" fmla="*/ 22350 w 17521894"/>
              <a:gd name="connsiteY164" fmla="*/ 3234097 h 9625007"/>
              <a:gd name="connsiteX165" fmla="*/ 994550 w 17521894"/>
              <a:gd name="connsiteY165" fmla="*/ 3234097 h 9625007"/>
              <a:gd name="connsiteX166" fmla="*/ 994550 w 17521894"/>
              <a:gd name="connsiteY166" fmla="*/ 4205420 h 9625007"/>
              <a:gd name="connsiteX167" fmla="*/ 22350 w 17521894"/>
              <a:gd name="connsiteY167" fmla="*/ 4205420 h 9625007"/>
              <a:gd name="connsiteX168" fmla="*/ 11029406 w 17521894"/>
              <a:gd name="connsiteY168" fmla="*/ 3234096 h 9625007"/>
              <a:gd name="connsiteX169" fmla="*/ 12012778 w 17521894"/>
              <a:gd name="connsiteY169" fmla="*/ 3234096 h 9625007"/>
              <a:gd name="connsiteX170" fmla="*/ 12012778 w 17521894"/>
              <a:gd name="connsiteY170" fmla="*/ 4205420 h 9625007"/>
              <a:gd name="connsiteX171" fmla="*/ 11029406 w 17521894"/>
              <a:gd name="connsiteY171" fmla="*/ 4205420 h 9625007"/>
              <a:gd name="connsiteX172" fmla="*/ 7732881 w 17521894"/>
              <a:gd name="connsiteY172" fmla="*/ 3234096 h 9625007"/>
              <a:gd name="connsiteX173" fmla="*/ 8716243 w 17521894"/>
              <a:gd name="connsiteY173" fmla="*/ 3234096 h 9625007"/>
              <a:gd name="connsiteX174" fmla="*/ 8716243 w 17521894"/>
              <a:gd name="connsiteY174" fmla="*/ 4205420 h 9625007"/>
              <a:gd name="connsiteX175" fmla="*/ 7732881 w 17521894"/>
              <a:gd name="connsiteY175" fmla="*/ 4205420 h 9625007"/>
              <a:gd name="connsiteX176" fmla="*/ 3307705 w 17521894"/>
              <a:gd name="connsiteY176" fmla="*/ 3234096 h 9625007"/>
              <a:gd name="connsiteX177" fmla="*/ 4291078 w 17521894"/>
              <a:gd name="connsiteY177" fmla="*/ 3234096 h 9625007"/>
              <a:gd name="connsiteX178" fmla="*/ 4291078 w 17521894"/>
              <a:gd name="connsiteY178" fmla="*/ 4205420 h 9625007"/>
              <a:gd name="connsiteX179" fmla="*/ 3307705 w 17521894"/>
              <a:gd name="connsiteY179" fmla="*/ 4205420 h 9625007"/>
              <a:gd name="connsiteX180" fmla="*/ 16538522 w 17521894"/>
              <a:gd name="connsiteY180" fmla="*/ 3234095 h 9625007"/>
              <a:gd name="connsiteX181" fmla="*/ 17510722 w 17521894"/>
              <a:gd name="connsiteY181" fmla="*/ 3234095 h 9625007"/>
              <a:gd name="connsiteX182" fmla="*/ 17510722 w 17521894"/>
              <a:gd name="connsiteY182" fmla="*/ 4205420 h 9625007"/>
              <a:gd name="connsiteX183" fmla="*/ 16538522 w 17521894"/>
              <a:gd name="connsiteY183" fmla="*/ 4205420 h 9625007"/>
              <a:gd name="connsiteX184" fmla="*/ 14314763 w 17521894"/>
              <a:gd name="connsiteY184" fmla="*/ 3234095 h 9625007"/>
              <a:gd name="connsiteX185" fmla="*/ 15298135 w 17521894"/>
              <a:gd name="connsiteY185" fmla="*/ 3234095 h 9625007"/>
              <a:gd name="connsiteX186" fmla="*/ 15298135 w 17521894"/>
              <a:gd name="connsiteY186" fmla="*/ 4205420 h 9625007"/>
              <a:gd name="connsiteX187" fmla="*/ 14314763 w 17521894"/>
              <a:gd name="connsiteY187" fmla="*/ 4205420 h 9625007"/>
              <a:gd name="connsiteX188" fmla="*/ 6604243 w 17521894"/>
              <a:gd name="connsiteY188" fmla="*/ 3234095 h 9625007"/>
              <a:gd name="connsiteX189" fmla="*/ 7576442 w 17521894"/>
              <a:gd name="connsiteY189" fmla="*/ 3234095 h 9625007"/>
              <a:gd name="connsiteX190" fmla="*/ 7576442 w 17521894"/>
              <a:gd name="connsiteY190" fmla="*/ 4205420 h 9625007"/>
              <a:gd name="connsiteX191" fmla="*/ 6604243 w 17521894"/>
              <a:gd name="connsiteY191" fmla="*/ 4205420 h 9625007"/>
              <a:gd name="connsiteX192" fmla="*/ 7732898 w 17521894"/>
              <a:gd name="connsiteY192" fmla="*/ 2163430 h 9625007"/>
              <a:gd name="connsiteX193" fmla="*/ 8716243 w 17521894"/>
              <a:gd name="connsiteY193" fmla="*/ 2163430 h 9625007"/>
              <a:gd name="connsiteX194" fmla="*/ 8716243 w 17521894"/>
              <a:gd name="connsiteY194" fmla="*/ 3123724 h 9625007"/>
              <a:gd name="connsiteX195" fmla="*/ 7732898 w 17521894"/>
              <a:gd name="connsiteY195" fmla="*/ 3123724 h 9625007"/>
              <a:gd name="connsiteX196" fmla="*/ 22364 w 17521894"/>
              <a:gd name="connsiteY196" fmla="*/ 2163430 h 9625007"/>
              <a:gd name="connsiteX197" fmla="*/ 994564 w 17521894"/>
              <a:gd name="connsiteY197" fmla="*/ 2163430 h 9625007"/>
              <a:gd name="connsiteX198" fmla="*/ 994564 w 17521894"/>
              <a:gd name="connsiteY198" fmla="*/ 3123724 h 9625007"/>
              <a:gd name="connsiteX199" fmla="*/ 22364 w 17521894"/>
              <a:gd name="connsiteY199" fmla="*/ 3123724 h 9625007"/>
              <a:gd name="connsiteX200" fmla="*/ 12124526 w 17521894"/>
              <a:gd name="connsiteY200" fmla="*/ 2163429 h 9625007"/>
              <a:gd name="connsiteX201" fmla="*/ 13107898 w 17521894"/>
              <a:gd name="connsiteY201" fmla="*/ 2163429 h 9625007"/>
              <a:gd name="connsiteX202" fmla="*/ 13107898 w 17521894"/>
              <a:gd name="connsiteY202" fmla="*/ 3123723 h 9625007"/>
              <a:gd name="connsiteX203" fmla="*/ 12124526 w 17521894"/>
              <a:gd name="connsiteY203" fmla="*/ 3123723 h 9625007"/>
              <a:gd name="connsiteX204" fmla="*/ 9934287 w 17521894"/>
              <a:gd name="connsiteY204" fmla="*/ 2163429 h 9625007"/>
              <a:gd name="connsiteX205" fmla="*/ 10906488 w 17521894"/>
              <a:gd name="connsiteY205" fmla="*/ 2163429 h 9625007"/>
              <a:gd name="connsiteX206" fmla="*/ 10906488 w 17521894"/>
              <a:gd name="connsiteY206" fmla="*/ 3123724 h 9625007"/>
              <a:gd name="connsiteX207" fmla="*/ 9934287 w 17521894"/>
              <a:gd name="connsiteY207" fmla="*/ 3123724 h 9625007"/>
              <a:gd name="connsiteX208" fmla="*/ 4402840 w 17521894"/>
              <a:gd name="connsiteY208" fmla="*/ 2163429 h 9625007"/>
              <a:gd name="connsiteX209" fmla="*/ 5386215 w 17521894"/>
              <a:gd name="connsiteY209" fmla="*/ 2163429 h 9625007"/>
              <a:gd name="connsiteX210" fmla="*/ 5386215 w 17521894"/>
              <a:gd name="connsiteY210" fmla="*/ 3123723 h 9625007"/>
              <a:gd name="connsiteX211" fmla="*/ 4402840 w 17521894"/>
              <a:gd name="connsiteY211" fmla="*/ 3123723 h 9625007"/>
              <a:gd name="connsiteX212" fmla="*/ 2212602 w 17521894"/>
              <a:gd name="connsiteY212" fmla="*/ 2163429 h 9625007"/>
              <a:gd name="connsiteX213" fmla="*/ 3195974 w 17521894"/>
              <a:gd name="connsiteY213" fmla="*/ 2163429 h 9625007"/>
              <a:gd name="connsiteX214" fmla="*/ 3195974 w 17521894"/>
              <a:gd name="connsiteY214" fmla="*/ 3123724 h 9625007"/>
              <a:gd name="connsiteX215" fmla="*/ 2212602 w 17521894"/>
              <a:gd name="connsiteY215" fmla="*/ 3123724 h 9625007"/>
              <a:gd name="connsiteX216" fmla="*/ 15432232 w 17521894"/>
              <a:gd name="connsiteY216" fmla="*/ 2163428 h 9625007"/>
              <a:gd name="connsiteX217" fmla="*/ 16415604 w 17521894"/>
              <a:gd name="connsiteY217" fmla="*/ 2163428 h 9625007"/>
              <a:gd name="connsiteX218" fmla="*/ 16415604 w 17521894"/>
              <a:gd name="connsiteY218" fmla="*/ 3123722 h 9625007"/>
              <a:gd name="connsiteX219" fmla="*/ 15432232 w 17521894"/>
              <a:gd name="connsiteY219" fmla="*/ 3123722 h 9625007"/>
              <a:gd name="connsiteX220" fmla="*/ 13219644 w 17521894"/>
              <a:gd name="connsiteY220" fmla="*/ 2163428 h 9625007"/>
              <a:gd name="connsiteX221" fmla="*/ 14203016 w 17521894"/>
              <a:gd name="connsiteY221" fmla="*/ 2163428 h 9625007"/>
              <a:gd name="connsiteX222" fmla="*/ 14203016 w 17521894"/>
              <a:gd name="connsiteY222" fmla="*/ 3123722 h 9625007"/>
              <a:gd name="connsiteX223" fmla="*/ 13219644 w 17521894"/>
              <a:gd name="connsiteY223" fmla="*/ 3123722 h 9625007"/>
              <a:gd name="connsiteX224" fmla="*/ 11029406 w 17521894"/>
              <a:gd name="connsiteY224" fmla="*/ 2163428 h 9625007"/>
              <a:gd name="connsiteX225" fmla="*/ 12012778 w 17521894"/>
              <a:gd name="connsiteY225" fmla="*/ 2163428 h 9625007"/>
              <a:gd name="connsiteX226" fmla="*/ 12012778 w 17521894"/>
              <a:gd name="connsiteY226" fmla="*/ 3123722 h 9625007"/>
              <a:gd name="connsiteX227" fmla="*/ 11029406 w 17521894"/>
              <a:gd name="connsiteY227" fmla="*/ 3123722 h 9625007"/>
              <a:gd name="connsiteX228" fmla="*/ 6604257 w 17521894"/>
              <a:gd name="connsiteY228" fmla="*/ 2163428 h 9625007"/>
              <a:gd name="connsiteX229" fmla="*/ 7576456 w 17521894"/>
              <a:gd name="connsiteY229" fmla="*/ 2163428 h 9625007"/>
              <a:gd name="connsiteX230" fmla="*/ 7576456 w 17521894"/>
              <a:gd name="connsiteY230" fmla="*/ 3123722 h 9625007"/>
              <a:gd name="connsiteX231" fmla="*/ 6604257 w 17521894"/>
              <a:gd name="connsiteY231" fmla="*/ 3123722 h 9625007"/>
              <a:gd name="connsiteX232" fmla="*/ 5509136 w 17521894"/>
              <a:gd name="connsiteY232" fmla="*/ 2163428 h 9625007"/>
              <a:gd name="connsiteX233" fmla="*/ 6481338 w 17521894"/>
              <a:gd name="connsiteY233" fmla="*/ 2163428 h 9625007"/>
              <a:gd name="connsiteX234" fmla="*/ 6481338 w 17521894"/>
              <a:gd name="connsiteY234" fmla="*/ 3123722 h 9625007"/>
              <a:gd name="connsiteX235" fmla="*/ 5509136 w 17521894"/>
              <a:gd name="connsiteY235" fmla="*/ 3123722 h 9625007"/>
              <a:gd name="connsiteX236" fmla="*/ 3307717 w 17521894"/>
              <a:gd name="connsiteY236" fmla="*/ 2163428 h 9625007"/>
              <a:gd name="connsiteX237" fmla="*/ 4291092 w 17521894"/>
              <a:gd name="connsiteY237" fmla="*/ 2163428 h 9625007"/>
              <a:gd name="connsiteX238" fmla="*/ 4291092 w 17521894"/>
              <a:gd name="connsiteY238" fmla="*/ 3123722 h 9625007"/>
              <a:gd name="connsiteX239" fmla="*/ 3307717 w 17521894"/>
              <a:gd name="connsiteY239" fmla="*/ 3123722 h 9625007"/>
              <a:gd name="connsiteX240" fmla="*/ 16538522 w 17521894"/>
              <a:gd name="connsiteY240" fmla="*/ 2163427 h 9625007"/>
              <a:gd name="connsiteX241" fmla="*/ 17510722 w 17521894"/>
              <a:gd name="connsiteY241" fmla="*/ 2163427 h 9625007"/>
              <a:gd name="connsiteX242" fmla="*/ 17510722 w 17521894"/>
              <a:gd name="connsiteY242" fmla="*/ 3123722 h 9625007"/>
              <a:gd name="connsiteX243" fmla="*/ 16538522 w 17521894"/>
              <a:gd name="connsiteY243" fmla="*/ 3123722 h 9625007"/>
              <a:gd name="connsiteX244" fmla="*/ 14314763 w 17521894"/>
              <a:gd name="connsiteY244" fmla="*/ 2163427 h 9625007"/>
              <a:gd name="connsiteX245" fmla="*/ 15298135 w 17521894"/>
              <a:gd name="connsiteY245" fmla="*/ 2163427 h 9625007"/>
              <a:gd name="connsiteX246" fmla="*/ 15298135 w 17521894"/>
              <a:gd name="connsiteY246" fmla="*/ 3123722 h 9625007"/>
              <a:gd name="connsiteX247" fmla="*/ 14314763 w 17521894"/>
              <a:gd name="connsiteY247" fmla="*/ 3123722 h 9625007"/>
              <a:gd name="connsiteX248" fmla="*/ 8827991 w 17521894"/>
              <a:gd name="connsiteY248" fmla="*/ 2163424 h 9625007"/>
              <a:gd name="connsiteX249" fmla="*/ 9811363 w 17521894"/>
              <a:gd name="connsiteY249" fmla="*/ 2163424 h 9625007"/>
              <a:gd name="connsiteX250" fmla="*/ 9811363 w 17521894"/>
              <a:gd name="connsiteY250" fmla="*/ 3123719 h 9625007"/>
              <a:gd name="connsiteX251" fmla="*/ 8827991 w 17521894"/>
              <a:gd name="connsiteY251" fmla="*/ 3123719 h 9625007"/>
              <a:gd name="connsiteX252" fmla="*/ 1117470 w 17521894"/>
              <a:gd name="connsiteY252" fmla="*/ 2163424 h 9625007"/>
              <a:gd name="connsiteX253" fmla="*/ 2100843 w 17521894"/>
              <a:gd name="connsiteY253" fmla="*/ 2163424 h 9625007"/>
              <a:gd name="connsiteX254" fmla="*/ 2100843 w 17521894"/>
              <a:gd name="connsiteY254" fmla="*/ 3123720 h 9625007"/>
              <a:gd name="connsiteX255" fmla="*/ 1117470 w 17521894"/>
              <a:gd name="connsiteY255" fmla="*/ 3123720 h 9625007"/>
              <a:gd name="connsiteX256" fmla="*/ 8827991 w 17521894"/>
              <a:gd name="connsiteY256" fmla="*/ 1081717 h 9625007"/>
              <a:gd name="connsiteX257" fmla="*/ 9811363 w 17521894"/>
              <a:gd name="connsiteY257" fmla="*/ 1081717 h 9625007"/>
              <a:gd name="connsiteX258" fmla="*/ 9811363 w 17521894"/>
              <a:gd name="connsiteY258" fmla="*/ 2042017 h 9625007"/>
              <a:gd name="connsiteX259" fmla="*/ 8827991 w 17521894"/>
              <a:gd name="connsiteY259" fmla="*/ 2042017 h 9625007"/>
              <a:gd name="connsiteX260" fmla="*/ 1117480 w 17521894"/>
              <a:gd name="connsiteY260" fmla="*/ 1081717 h 9625007"/>
              <a:gd name="connsiteX261" fmla="*/ 2100854 w 17521894"/>
              <a:gd name="connsiteY261" fmla="*/ 1081717 h 9625007"/>
              <a:gd name="connsiteX262" fmla="*/ 2100854 w 17521894"/>
              <a:gd name="connsiteY262" fmla="*/ 2042017 h 9625007"/>
              <a:gd name="connsiteX263" fmla="*/ 1117480 w 17521894"/>
              <a:gd name="connsiteY263" fmla="*/ 2042017 h 9625007"/>
              <a:gd name="connsiteX264" fmla="*/ 14314763 w 17521894"/>
              <a:gd name="connsiteY264" fmla="*/ 1081715 h 9625007"/>
              <a:gd name="connsiteX265" fmla="*/ 15298135 w 17521894"/>
              <a:gd name="connsiteY265" fmla="*/ 1081715 h 9625007"/>
              <a:gd name="connsiteX266" fmla="*/ 15298135 w 17521894"/>
              <a:gd name="connsiteY266" fmla="*/ 2042015 h 9625007"/>
              <a:gd name="connsiteX267" fmla="*/ 14314763 w 17521894"/>
              <a:gd name="connsiteY267" fmla="*/ 2042015 h 9625007"/>
              <a:gd name="connsiteX268" fmla="*/ 6604256 w 17521894"/>
              <a:gd name="connsiteY268" fmla="*/ 1081715 h 9625007"/>
              <a:gd name="connsiteX269" fmla="*/ 7576454 w 17521894"/>
              <a:gd name="connsiteY269" fmla="*/ 1081715 h 9625007"/>
              <a:gd name="connsiteX270" fmla="*/ 7576454 w 17521894"/>
              <a:gd name="connsiteY270" fmla="*/ 2042015 h 9625007"/>
              <a:gd name="connsiteX271" fmla="*/ 6604256 w 17521894"/>
              <a:gd name="connsiteY271" fmla="*/ 2042015 h 9625007"/>
              <a:gd name="connsiteX272" fmla="*/ 16538522 w 17521894"/>
              <a:gd name="connsiteY272" fmla="*/ 1081714 h 9625007"/>
              <a:gd name="connsiteX273" fmla="*/ 17510722 w 17521894"/>
              <a:gd name="connsiteY273" fmla="*/ 1081714 h 9625007"/>
              <a:gd name="connsiteX274" fmla="*/ 17510722 w 17521894"/>
              <a:gd name="connsiteY274" fmla="*/ 2042015 h 9625007"/>
              <a:gd name="connsiteX275" fmla="*/ 16538522 w 17521894"/>
              <a:gd name="connsiteY275" fmla="*/ 2042015 h 9625007"/>
              <a:gd name="connsiteX276" fmla="*/ 5509135 w 17521894"/>
              <a:gd name="connsiteY276" fmla="*/ 1081714 h 9625007"/>
              <a:gd name="connsiteX277" fmla="*/ 6481334 w 17521894"/>
              <a:gd name="connsiteY277" fmla="*/ 1081714 h 9625007"/>
              <a:gd name="connsiteX278" fmla="*/ 6481334 w 17521894"/>
              <a:gd name="connsiteY278" fmla="*/ 2042015 h 9625007"/>
              <a:gd name="connsiteX279" fmla="*/ 5509135 w 17521894"/>
              <a:gd name="connsiteY279" fmla="*/ 2042015 h 9625007"/>
              <a:gd name="connsiteX280" fmla="*/ 15432232 w 17521894"/>
              <a:gd name="connsiteY280" fmla="*/ 1081714 h 9625007"/>
              <a:gd name="connsiteX281" fmla="*/ 16415604 w 17521894"/>
              <a:gd name="connsiteY281" fmla="*/ 1081714 h 9625007"/>
              <a:gd name="connsiteX282" fmla="*/ 16415604 w 17521894"/>
              <a:gd name="connsiteY282" fmla="*/ 2042015 h 9625007"/>
              <a:gd name="connsiteX283" fmla="*/ 15432232 w 17521894"/>
              <a:gd name="connsiteY283" fmla="*/ 2042015 h 9625007"/>
              <a:gd name="connsiteX284" fmla="*/ 13219644 w 17521894"/>
              <a:gd name="connsiteY284" fmla="*/ 1081714 h 9625007"/>
              <a:gd name="connsiteX285" fmla="*/ 14203016 w 17521894"/>
              <a:gd name="connsiteY285" fmla="*/ 1081714 h 9625007"/>
              <a:gd name="connsiteX286" fmla="*/ 14203016 w 17521894"/>
              <a:gd name="connsiteY286" fmla="*/ 2042015 h 9625007"/>
              <a:gd name="connsiteX287" fmla="*/ 13219644 w 17521894"/>
              <a:gd name="connsiteY287" fmla="*/ 2042015 h 9625007"/>
              <a:gd name="connsiteX288" fmla="*/ 12135697 w 17521894"/>
              <a:gd name="connsiteY288" fmla="*/ 1081714 h 9625007"/>
              <a:gd name="connsiteX289" fmla="*/ 13119069 w 17521894"/>
              <a:gd name="connsiteY289" fmla="*/ 1081714 h 9625007"/>
              <a:gd name="connsiteX290" fmla="*/ 13119069 w 17521894"/>
              <a:gd name="connsiteY290" fmla="*/ 2042014 h 9625007"/>
              <a:gd name="connsiteX291" fmla="*/ 12135697 w 17521894"/>
              <a:gd name="connsiteY291" fmla="*/ 2042014 h 9625007"/>
              <a:gd name="connsiteX292" fmla="*/ 11029406 w 17521894"/>
              <a:gd name="connsiteY292" fmla="*/ 1081714 h 9625007"/>
              <a:gd name="connsiteX293" fmla="*/ 12012778 w 17521894"/>
              <a:gd name="connsiteY293" fmla="*/ 1081714 h 9625007"/>
              <a:gd name="connsiteX294" fmla="*/ 12012778 w 17521894"/>
              <a:gd name="connsiteY294" fmla="*/ 2042014 h 9625007"/>
              <a:gd name="connsiteX295" fmla="*/ 11029406 w 17521894"/>
              <a:gd name="connsiteY295" fmla="*/ 2042014 h 9625007"/>
              <a:gd name="connsiteX296" fmla="*/ 4414012 w 17521894"/>
              <a:gd name="connsiteY296" fmla="*/ 1081714 h 9625007"/>
              <a:gd name="connsiteX297" fmla="*/ 5397385 w 17521894"/>
              <a:gd name="connsiteY297" fmla="*/ 1081714 h 9625007"/>
              <a:gd name="connsiteX298" fmla="*/ 5397385 w 17521894"/>
              <a:gd name="connsiteY298" fmla="*/ 2042014 h 9625007"/>
              <a:gd name="connsiteX299" fmla="*/ 4414012 w 17521894"/>
              <a:gd name="connsiteY299" fmla="*/ 2042014 h 9625007"/>
              <a:gd name="connsiteX300" fmla="*/ 3307713 w 17521894"/>
              <a:gd name="connsiteY300" fmla="*/ 1081714 h 9625007"/>
              <a:gd name="connsiteX301" fmla="*/ 4291088 w 17521894"/>
              <a:gd name="connsiteY301" fmla="*/ 1081714 h 9625007"/>
              <a:gd name="connsiteX302" fmla="*/ 4291088 w 17521894"/>
              <a:gd name="connsiteY302" fmla="*/ 2042014 h 9625007"/>
              <a:gd name="connsiteX303" fmla="*/ 3307713 w 17521894"/>
              <a:gd name="connsiteY303" fmla="*/ 2042014 h 9625007"/>
              <a:gd name="connsiteX304" fmla="*/ 9934287 w 17521894"/>
              <a:gd name="connsiteY304" fmla="*/ 1081711 h 9625007"/>
              <a:gd name="connsiteX305" fmla="*/ 10906488 w 17521894"/>
              <a:gd name="connsiteY305" fmla="*/ 1081711 h 9625007"/>
              <a:gd name="connsiteX306" fmla="*/ 10906488 w 17521894"/>
              <a:gd name="connsiteY306" fmla="*/ 2042012 h 9625007"/>
              <a:gd name="connsiteX307" fmla="*/ 9934287 w 17521894"/>
              <a:gd name="connsiteY307" fmla="*/ 2042012 h 9625007"/>
              <a:gd name="connsiteX308" fmla="*/ 2212590 w 17521894"/>
              <a:gd name="connsiteY308" fmla="*/ 1081711 h 9625007"/>
              <a:gd name="connsiteX309" fmla="*/ 3195962 w 17521894"/>
              <a:gd name="connsiteY309" fmla="*/ 1081711 h 9625007"/>
              <a:gd name="connsiteX310" fmla="*/ 3195962 w 17521894"/>
              <a:gd name="connsiteY310" fmla="*/ 2042012 h 9625007"/>
              <a:gd name="connsiteX311" fmla="*/ 2212590 w 17521894"/>
              <a:gd name="connsiteY311" fmla="*/ 2042012 h 9625007"/>
              <a:gd name="connsiteX312" fmla="*/ 7732898 w 17521894"/>
              <a:gd name="connsiteY312" fmla="*/ 1070681 h 9625007"/>
              <a:gd name="connsiteX313" fmla="*/ 8716243 w 17521894"/>
              <a:gd name="connsiteY313" fmla="*/ 1070681 h 9625007"/>
              <a:gd name="connsiteX314" fmla="*/ 8716243 w 17521894"/>
              <a:gd name="connsiteY314" fmla="*/ 2030981 h 9625007"/>
              <a:gd name="connsiteX315" fmla="*/ 7732898 w 17521894"/>
              <a:gd name="connsiteY315" fmla="*/ 2030981 h 9625007"/>
              <a:gd name="connsiteX316" fmla="*/ 22364 w 17521894"/>
              <a:gd name="connsiteY316" fmla="*/ 1070681 h 9625007"/>
              <a:gd name="connsiteX317" fmla="*/ 994563 w 17521894"/>
              <a:gd name="connsiteY317" fmla="*/ 1070681 h 9625007"/>
              <a:gd name="connsiteX318" fmla="*/ 994563 w 17521894"/>
              <a:gd name="connsiteY318" fmla="*/ 2030981 h 9625007"/>
              <a:gd name="connsiteX319" fmla="*/ 22364 w 17521894"/>
              <a:gd name="connsiteY319" fmla="*/ 2030981 h 9625007"/>
              <a:gd name="connsiteX320" fmla="*/ 3307713 w 17521894"/>
              <a:gd name="connsiteY320" fmla="*/ 4 h 9625007"/>
              <a:gd name="connsiteX321" fmla="*/ 4291086 w 17521894"/>
              <a:gd name="connsiteY321" fmla="*/ 4 h 9625007"/>
              <a:gd name="connsiteX322" fmla="*/ 4291086 w 17521894"/>
              <a:gd name="connsiteY322" fmla="*/ 960300 h 9625007"/>
              <a:gd name="connsiteX323" fmla="*/ 3307713 w 17521894"/>
              <a:gd name="connsiteY323" fmla="*/ 960300 h 9625007"/>
              <a:gd name="connsiteX324" fmla="*/ 11029406 w 17521894"/>
              <a:gd name="connsiteY324" fmla="*/ 4 h 9625007"/>
              <a:gd name="connsiteX325" fmla="*/ 12012778 w 17521894"/>
              <a:gd name="connsiteY325" fmla="*/ 4 h 9625007"/>
              <a:gd name="connsiteX326" fmla="*/ 12012778 w 17521894"/>
              <a:gd name="connsiteY326" fmla="*/ 960300 h 9625007"/>
              <a:gd name="connsiteX327" fmla="*/ 11029406 w 17521894"/>
              <a:gd name="connsiteY327" fmla="*/ 960300 h 9625007"/>
              <a:gd name="connsiteX328" fmla="*/ 4402834 w 17521894"/>
              <a:gd name="connsiteY328" fmla="*/ 4 h 9625007"/>
              <a:gd name="connsiteX329" fmla="*/ 5386206 w 17521894"/>
              <a:gd name="connsiteY329" fmla="*/ 4 h 9625007"/>
              <a:gd name="connsiteX330" fmla="*/ 5386206 w 17521894"/>
              <a:gd name="connsiteY330" fmla="*/ 960300 h 9625007"/>
              <a:gd name="connsiteX331" fmla="*/ 4402834 w 17521894"/>
              <a:gd name="connsiteY331" fmla="*/ 960300 h 9625007"/>
              <a:gd name="connsiteX332" fmla="*/ 12124526 w 17521894"/>
              <a:gd name="connsiteY332" fmla="*/ 4 h 9625007"/>
              <a:gd name="connsiteX333" fmla="*/ 13107898 w 17521894"/>
              <a:gd name="connsiteY333" fmla="*/ 4 h 9625007"/>
              <a:gd name="connsiteX334" fmla="*/ 13107898 w 17521894"/>
              <a:gd name="connsiteY334" fmla="*/ 960300 h 9625007"/>
              <a:gd name="connsiteX335" fmla="*/ 12124526 w 17521894"/>
              <a:gd name="connsiteY335" fmla="*/ 960300 h 9625007"/>
              <a:gd name="connsiteX336" fmla="*/ 5509132 w 17521894"/>
              <a:gd name="connsiteY336" fmla="*/ 4 h 9625007"/>
              <a:gd name="connsiteX337" fmla="*/ 6481332 w 17521894"/>
              <a:gd name="connsiteY337" fmla="*/ 4 h 9625007"/>
              <a:gd name="connsiteX338" fmla="*/ 6481332 w 17521894"/>
              <a:gd name="connsiteY338" fmla="*/ 960300 h 9625007"/>
              <a:gd name="connsiteX339" fmla="*/ 5509132 w 17521894"/>
              <a:gd name="connsiteY339" fmla="*/ 960300 h 9625007"/>
              <a:gd name="connsiteX340" fmla="*/ 13219644 w 17521894"/>
              <a:gd name="connsiteY340" fmla="*/ 3 h 9625007"/>
              <a:gd name="connsiteX341" fmla="*/ 14203016 w 17521894"/>
              <a:gd name="connsiteY341" fmla="*/ 3 h 9625007"/>
              <a:gd name="connsiteX342" fmla="*/ 14203016 w 17521894"/>
              <a:gd name="connsiteY342" fmla="*/ 960300 h 9625007"/>
              <a:gd name="connsiteX343" fmla="*/ 13219644 w 17521894"/>
              <a:gd name="connsiteY343" fmla="*/ 960300 h 9625007"/>
              <a:gd name="connsiteX344" fmla="*/ 15432232 w 17521894"/>
              <a:gd name="connsiteY344" fmla="*/ 3 h 9625007"/>
              <a:gd name="connsiteX345" fmla="*/ 16415604 w 17521894"/>
              <a:gd name="connsiteY345" fmla="*/ 3 h 9625007"/>
              <a:gd name="connsiteX346" fmla="*/ 16415604 w 17521894"/>
              <a:gd name="connsiteY346" fmla="*/ 960299 h 9625007"/>
              <a:gd name="connsiteX347" fmla="*/ 15432232 w 17521894"/>
              <a:gd name="connsiteY347" fmla="*/ 960299 h 9625007"/>
              <a:gd name="connsiteX348" fmla="*/ 6615422 w 17521894"/>
              <a:gd name="connsiteY348" fmla="*/ 3 h 9625007"/>
              <a:gd name="connsiteX349" fmla="*/ 7587621 w 17521894"/>
              <a:gd name="connsiteY349" fmla="*/ 3 h 9625007"/>
              <a:gd name="connsiteX350" fmla="*/ 7587621 w 17521894"/>
              <a:gd name="connsiteY350" fmla="*/ 960299 h 9625007"/>
              <a:gd name="connsiteX351" fmla="*/ 6615422 w 17521894"/>
              <a:gd name="connsiteY351" fmla="*/ 960299 h 9625007"/>
              <a:gd name="connsiteX352" fmla="*/ 14325934 w 17521894"/>
              <a:gd name="connsiteY352" fmla="*/ 3 h 9625007"/>
              <a:gd name="connsiteX353" fmla="*/ 15309306 w 17521894"/>
              <a:gd name="connsiteY353" fmla="*/ 3 h 9625007"/>
              <a:gd name="connsiteX354" fmla="*/ 15309306 w 17521894"/>
              <a:gd name="connsiteY354" fmla="*/ 960299 h 9625007"/>
              <a:gd name="connsiteX355" fmla="*/ 14325934 w 17521894"/>
              <a:gd name="connsiteY355" fmla="*/ 960299 h 9625007"/>
              <a:gd name="connsiteX356" fmla="*/ 16538522 w 17521894"/>
              <a:gd name="connsiteY356" fmla="*/ 3 h 9625007"/>
              <a:gd name="connsiteX357" fmla="*/ 17521894 w 17521894"/>
              <a:gd name="connsiteY357" fmla="*/ 3 h 9625007"/>
              <a:gd name="connsiteX358" fmla="*/ 17521894 w 17521894"/>
              <a:gd name="connsiteY358" fmla="*/ 960299 h 9625007"/>
              <a:gd name="connsiteX359" fmla="*/ 16538522 w 17521894"/>
              <a:gd name="connsiteY359" fmla="*/ 960299 h 9625007"/>
              <a:gd name="connsiteX360" fmla="*/ 2212590 w 17521894"/>
              <a:gd name="connsiteY360" fmla="*/ 1 h 9625007"/>
              <a:gd name="connsiteX361" fmla="*/ 3195962 w 17521894"/>
              <a:gd name="connsiteY361" fmla="*/ 1 h 9625007"/>
              <a:gd name="connsiteX362" fmla="*/ 3195962 w 17521894"/>
              <a:gd name="connsiteY362" fmla="*/ 960298 h 9625007"/>
              <a:gd name="connsiteX363" fmla="*/ 2212590 w 17521894"/>
              <a:gd name="connsiteY363" fmla="*/ 960298 h 9625007"/>
              <a:gd name="connsiteX364" fmla="*/ 9934287 w 17521894"/>
              <a:gd name="connsiteY364" fmla="*/ 1 h 9625007"/>
              <a:gd name="connsiteX365" fmla="*/ 10906488 w 17521894"/>
              <a:gd name="connsiteY365" fmla="*/ 1 h 9625007"/>
              <a:gd name="connsiteX366" fmla="*/ 10906488 w 17521894"/>
              <a:gd name="connsiteY366" fmla="*/ 960297 h 9625007"/>
              <a:gd name="connsiteX367" fmla="*/ 9934287 w 17521894"/>
              <a:gd name="connsiteY367" fmla="*/ 960297 h 9625007"/>
              <a:gd name="connsiteX368" fmla="*/ 1106297 w 17521894"/>
              <a:gd name="connsiteY368" fmla="*/ 1 h 9625007"/>
              <a:gd name="connsiteX369" fmla="*/ 2089670 w 17521894"/>
              <a:gd name="connsiteY369" fmla="*/ 1 h 9625007"/>
              <a:gd name="connsiteX370" fmla="*/ 2089670 w 17521894"/>
              <a:gd name="connsiteY370" fmla="*/ 960297 h 9625007"/>
              <a:gd name="connsiteX371" fmla="*/ 1106297 w 17521894"/>
              <a:gd name="connsiteY371" fmla="*/ 960297 h 9625007"/>
              <a:gd name="connsiteX372" fmla="*/ 8827991 w 17521894"/>
              <a:gd name="connsiteY372" fmla="*/ 1 h 9625007"/>
              <a:gd name="connsiteX373" fmla="*/ 9800192 w 17521894"/>
              <a:gd name="connsiteY373" fmla="*/ 1 h 9625007"/>
              <a:gd name="connsiteX374" fmla="*/ 9800192 w 17521894"/>
              <a:gd name="connsiteY374" fmla="*/ 960297 h 9625007"/>
              <a:gd name="connsiteX375" fmla="*/ 8827991 w 17521894"/>
              <a:gd name="connsiteY375" fmla="*/ 960297 h 9625007"/>
              <a:gd name="connsiteX376" fmla="*/ 0 w 17521894"/>
              <a:gd name="connsiteY376" fmla="*/ 1 h 9625007"/>
              <a:gd name="connsiteX377" fmla="*/ 983372 w 17521894"/>
              <a:gd name="connsiteY377" fmla="*/ 1 h 9625007"/>
              <a:gd name="connsiteX378" fmla="*/ 983372 w 17521894"/>
              <a:gd name="connsiteY378" fmla="*/ 960297 h 9625007"/>
              <a:gd name="connsiteX379" fmla="*/ 0 w 17521894"/>
              <a:gd name="connsiteY379" fmla="*/ 960297 h 9625007"/>
              <a:gd name="connsiteX380" fmla="*/ 7721711 w 17521894"/>
              <a:gd name="connsiteY380" fmla="*/ 0 h 9625007"/>
              <a:gd name="connsiteX381" fmla="*/ 8693901 w 17521894"/>
              <a:gd name="connsiteY381" fmla="*/ 0 h 9625007"/>
              <a:gd name="connsiteX382" fmla="*/ 8693901 w 17521894"/>
              <a:gd name="connsiteY382" fmla="*/ 960297 h 9625007"/>
              <a:gd name="connsiteX383" fmla="*/ 7721711 w 17521894"/>
              <a:gd name="connsiteY383" fmla="*/ 960297 h 9625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</a:cxnLst>
            <a:rect l="l" t="t" r="r" b="b"/>
            <a:pathLst>
              <a:path w="17521894" h="9625007">
                <a:moveTo>
                  <a:pt x="11029406" y="8664710"/>
                </a:moveTo>
                <a:lnTo>
                  <a:pt x="12012778" y="8664710"/>
                </a:lnTo>
                <a:lnTo>
                  <a:pt x="12012778" y="9625007"/>
                </a:lnTo>
                <a:lnTo>
                  <a:pt x="11029406" y="9625007"/>
                </a:lnTo>
                <a:close/>
                <a:moveTo>
                  <a:pt x="7732871" y="8664710"/>
                </a:moveTo>
                <a:lnTo>
                  <a:pt x="8716243" y="8664710"/>
                </a:lnTo>
                <a:lnTo>
                  <a:pt x="8716243" y="9625007"/>
                </a:lnTo>
                <a:lnTo>
                  <a:pt x="7732871" y="9625007"/>
                </a:lnTo>
                <a:close/>
                <a:moveTo>
                  <a:pt x="3307702" y="8664710"/>
                </a:moveTo>
                <a:lnTo>
                  <a:pt x="4291075" y="8664710"/>
                </a:lnTo>
                <a:lnTo>
                  <a:pt x="4291075" y="9625007"/>
                </a:lnTo>
                <a:lnTo>
                  <a:pt x="3307702" y="9625007"/>
                </a:lnTo>
                <a:close/>
                <a:moveTo>
                  <a:pt x="22341" y="8664710"/>
                </a:moveTo>
                <a:lnTo>
                  <a:pt x="994541" y="8664710"/>
                </a:lnTo>
                <a:lnTo>
                  <a:pt x="994541" y="9625007"/>
                </a:lnTo>
                <a:lnTo>
                  <a:pt x="22341" y="9625007"/>
                </a:lnTo>
                <a:close/>
                <a:moveTo>
                  <a:pt x="16538522" y="8653670"/>
                </a:moveTo>
                <a:lnTo>
                  <a:pt x="17510722" y="8653670"/>
                </a:lnTo>
                <a:lnTo>
                  <a:pt x="17510722" y="9613967"/>
                </a:lnTo>
                <a:lnTo>
                  <a:pt x="16538522" y="9613967"/>
                </a:lnTo>
                <a:close/>
                <a:moveTo>
                  <a:pt x="15432232" y="8653670"/>
                </a:moveTo>
                <a:lnTo>
                  <a:pt x="16415604" y="8653670"/>
                </a:lnTo>
                <a:lnTo>
                  <a:pt x="16415604" y="9613967"/>
                </a:lnTo>
                <a:lnTo>
                  <a:pt x="15432232" y="9613967"/>
                </a:lnTo>
                <a:close/>
                <a:moveTo>
                  <a:pt x="14314763" y="8653670"/>
                </a:moveTo>
                <a:lnTo>
                  <a:pt x="15298135" y="8653670"/>
                </a:lnTo>
                <a:lnTo>
                  <a:pt x="15298135" y="9613967"/>
                </a:lnTo>
                <a:lnTo>
                  <a:pt x="14314763" y="9613967"/>
                </a:lnTo>
                <a:close/>
                <a:moveTo>
                  <a:pt x="13219644" y="8653670"/>
                </a:moveTo>
                <a:lnTo>
                  <a:pt x="14203016" y="8653670"/>
                </a:lnTo>
                <a:lnTo>
                  <a:pt x="14203016" y="9613967"/>
                </a:lnTo>
                <a:lnTo>
                  <a:pt x="13219644" y="9613967"/>
                </a:lnTo>
                <a:close/>
                <a:moveTo>
                  <a:pt x="12124526" y="8653670"/>
                </a:moveTo>
                <a:lnTo>
                  <a:pt x="13107898" y="8653670"/>
                </a:lnTo>
                <a:lnTo>
                  <a:pt x="13107898" y="9613967"/>
                </a:lnTo>
                <a:lnTo>
                  <a:pt x="12124526" y="9613967"/>
                </a:lnTo>
                <a:close/>
                <a:moveTo>
                  <a:pt x="9934287" y="8653670"/>
                </a:moveTo>
                <a:lnTo>
                  <a:pt x="10906488" y="8653670"/>
                </a:lnTo>
                <a:lnTo>
                  <a:pt x="10906488" y="9613967"/>
                </a:lnTo>
                <a:lnTo>
                  <a:pt x="9934287" y="9613967"/>
                </a:lnTo>
                <a:close/>
                <a:moveTo>
                  <a:pt x="8827991" y="8653670"/>
                </a:moveTo>
                <a:lnTo>
                  <a:pt x="9811363" y="8653670"/>
                </a:lnTo>
                <a:lnTo>
                  <a:pt x="9811363" y="9613967"/>
                </a:lnTo>
                <a:lnTo>
                  <a:pt x="8827991" y="9613967"/>
                </a:lnTo>
                <a:close/>
                <a:moveTo>
                  <a:pt x="6604234" y="8653670"/>
                </a:moveTo>
                <a:lnTo>
                  <a:pt x="7576436" y="8653670"/>
                </a:lnTo>
                <a:lnTo>
                  <a:pt x="7576436" y="9613967"/>
                </a:lnTo>
                <a:lnTo>
                  <a:pt x="6604234" y="9613967"/>
                </a:lnTo>
                <a:close/>
                <a:moveTo>
                  <a:pt x="5509117" y="8653670"/>
                </a:moveTo>
                <a:lnTo>
                  <a:pt x="6481318" y="8653670"/>
                </a:lnTo>
                <a:lnTo>
                  <a:pt x="6481318" y="9613967"/>
                </a:lnTo>
                <a:lnTo>
                  <a:pt x="5509117" y="9613967"/>
                </a:lnTo>
                <a:close/>
                <a:moveTo>
                  <a:pt x="4402819" y="8653670"/>
                </a:moveTo>
                <a:lnTo>
                  <a:pt x="5386192" y="8653670"/>
                </a:lnTo>
                <a:lnTo>
                  <a:pt x="5386192" y="9613967"/>
                </a:lnTo>
                <a:lnTo>
                  <a:pt x="4402819" y="9613967"/>
                </a:lnTo>
                <a:close/>
                <a:moveTo>
                  <a:pt x="2212579" y="8653670"/>
                </a:moveTo>
                <a:lnTo>
                  <a:pt x="3195951" y="8653670"/>
                </a:lnTo>
                <a:lnTo>
                  <a:pt x="3195951" y="9613967"/>
                </a:lnTo>
                <a:lnTo>
                  <a:pt x="2212579" y="9613967"/>
                </a:lnTo>
                <a:close/>
                <a:moveTo>
                  <a:pt x="1117460" y="8653670"/>
                </a:moveTo>
                <a:lnTo>
                  <a:pt x="2100832" y="8653670"/>
                </a:lnTo>
                <a:lnTo>
                  <a:pt x="2100832" y="9613967"/>
                </a:lnTo>
                <a:lnTo>
                  <a:pt x="1117460" y="9613967"/>
                </a:lnTo>
                <a:close/>
                <a:moveTo>
                  <a:pt x="15432232" y="7583002"/>
                </a:moveTo>
                <a:lnTo>
                  <a:pt x="16415604" y="7583002"/>
                </a:lnTo>
                <a:lnTo>
                  <a:pt x="16415604" y="8543299"/>
                </a:lnTo>
                <a:lnTo>
                  <a:pt x="15432232" y="8543299"/>
                </a:lnTo>
                <a:close/>
                <a:moveTo>
                  <a:pt x="13219644" y="7583002"/>
                </a:moveTo>
                <a:lnTo>
                  <a:pt x="14203016" y="7583002"/>
                </a:lnTo>
                <a:lnTo>
                  <a:pt x="14203016" y="8543299"/>
                </a:lnTo>
                <a:lnTo>
                  <a:pt x="13219644" y="8543299"/>
                </a:lnTo>
                <a:close/>
                <a:moveTo>
                  <a:pt x="5509118" y="7583002"/>
                </a:moveTo>
                <a:lnTo>
                  <a:pt x="6481320" y="7583002"/>
                </a:lnTo>
                <a:lnTo>
                  <a:pt x="6481320" y="8543299"/>
                </a:lnTo>
                <a:lnTo>
                  <a:pt x="5509118" y="8543299"/>
                </a:lnTo>
                <a:close/>
                <a:moveTo>
                  <a:pt x="16538522" y="7571960"/>
                </a:moveTo>
                <a:lnTo>
                  <a:pt x="17510722" y="7571960"/>
                </a:lnTo>
                <a:lnTo>
                  <a:pt x="17510722" y="8532257"/>
                </a:lnTo>
                <a:lnTo>
                  <a:pt x="16538522" y="8532257"/>
                </a:lnTo>
                <a:close/>
                <a:moveTo>
                  <a:pt x="14314763" y="7571960"/>
                </a:moveTo>
                <a:lnTo>
                  <a:pt x="15298135" y="7571960"/>
                </a:lnTo>
                <a:lnTo>
                  <a:pt x="15298135" y="8532257"/>
                </a:lnTo>
                <a:lnTo>
                  <a:pt x="14314763" y="8532257"/>
                </a:lnTo>
                <a:close/>
                <a:moveTo>
                  <a:pt x="12124526" y="7571960"/>
                </a:moveTo>
                <a:lnTo>
                  <a:pt x="13107898" y="7571960"/>
                </a:lnTo>
                <a:lnTo>
                  <a:pt x="13107898" y="8532257"/>
                </a:lnTo>
                <a:lnTo>
                  <a:pt x="12124526" y="8532257"/>
                </a:lnTo>
                <a:close/>
                <a:moveTo>
                  <a:pt x="11029406" y="7571960"/>
                </a:moveTo>
                <a:lnTo>
                  <a:pt x="12012778" y="7571960"/>
                </a:lnTo>
                <a:lnTo>
                  <a:pt x="12012778" y="8532257"/>
                </a:lnTo>
                <a:lnTo>
                  <a:pt x="11029406" y="8532257"/>
                </a:lnTo>
                <a:close/>
                <a:moveTo>
                  <a:pt x="9934287" y="7571960"/>
                </a:moveTo>
                <a:lnTo>
                  <a:pt x="10906488" y="7571960"/>
                </a:lnTo>
                <a:lnTo>
                  <a:pt x="10906488" y="8532257"/>
                </a:lnTo>
                <a:lnTo>
                  <a:pt x="9934287" y="8532257"/>
                </a:lnTo>
                <a:close/>
                <a:moveTo>
                  <a:pt x="8827991" y="7571960"/>
                </a:moveTo>
                <a:lnTo>
                  <a:pt x="9811363" y="7571960"/>
                </a:lnTo>
                <a:lnTo>
                  <a:pt x="9811363" y="8532257"/>
                </a:lnTo>
                <a:lnTo>
                  <a:pt x="8827991" y="8532257"/>
                </a:lnTo>
                <a:close/>
                <a:moveTo>
                  <a:pt x="7732872" y="7571960"/>
                </a:moveTo>
                <a:lnTo>
                  <a:pt x="8716243" y="7571960"/>
                </a:lnTo>
                <a:lnTo>
                  <a:pt x="8716243" y="8532257"/>
                </a:lnTo>
                <a:lnTo>
                  <a:pt x="7732872" y="8532257"/>
                </a:lnTo>
                <a:close/>
                <a:moveTo>
                  <a:pt x="6604242" y="7571960"/>
                </a:moveTo>
                <a:lnTo>
                  <a:pt x="7576440" y="7571960"/>
                </a:lnTo>
                <a:lnTo>
                  <a:pt x="7576440" y="8532257"/>
                </a:lnTo>
                <a:lnTo>
                  <a:pt x="6604242" y="8532257"/>
                </a:lnTo>
                <a:close/>
                <a:moveTo>
                  <a:pt x="4402819" y="7571960"/>
                </a:moveTo>
                <a:lnTo>
                  <a:pt x="5386192" y="7571960"/>
                </a:lnTo>
                <a:lnTo>
                  <a:pt x="5386192" y="8532257"/>
                </a:lnTo>
                <a:lnTo>
                  <a:pt x="4402819" y="8532257"/>
                </a:lnTo>
                <a:close/>
                <a:moveTo>
                  <a:pt x="3307702" y="7571960"/>
                </a:moveTo>
                <a:lnTo>
                  <a:pt x="4291075" y="7571960"/>
                </a:lnTo>
                <a:lnTo>
                  <a:pt x="4291075" y="8532257"/>
                </a:lnTo>
                <a:lnTo>
                  <a:pt x="3307702" y="8532257"/>
                </a:lnTo>
                <a:close/>
                <a:moveTo>
                  <a:pt x="2212585" y="7571960"/>
                </a:moveTo>
                <a:lnTo>
                  <a:pt x="3195957" y="7571960"/>
                </a:lnTo>
                <a:lnTo>
                  <a:pt x="3195957" y="8532257"/>
                </a:lnTo>
                <a:lnTo>
                  <a:pt x="2212585" y="8532257"/>
                </a:lnTo>
                <a:close/>
                <a:moveTo>
                  <a:pt x="1117465" y="7571960"/>
                </a:moveTo>
                <a:lnTo>
                  <a:pt x="2100838" y="7571960"/>
                </a:lnTo>
                <a:lnTo>
                  <a:pt x="2100838" y="8532257"/>
                </a:lnTo>
                <a:lnTo>
                  <a:pt x="1117465" y="8532257"/>
                </a:lnTo>
                <a:close/>
                <a:moveTo>
                  <a:pt x="22341" y="7571960"/>
                </a:moveTo>
                <a:lnTo>
                  <a:pt x="994542" y="7571960"/>
                </a:lnTo>
                <a:lnTo>
                  <a:pt x="994542" y="8532257"/>
                </a:lnTo>
                <a:lnTo>
                  <a:pt x="22341" y="8532257"/>
                </a:lnTo>
                <a:close/>
                <a:moveTo>
                  <a:pt x="12124526" y="3245137"/>
                </a:moveTo>
                <a:lnTo>
                  <a:pt x="13107898" y="3245137"/>
                </a:lnTo>
                <a:lnTo>
                  <a:pt x="13107898" y="4205420"/>
                </a:lnTo>
                <a:lnTo>
                  <a:pt x="12124526" y="4205420"/>
                </a:lnTo>
                <a:close/>
                <a:moveTo>
                  <a:pt x="4402839" y="3245137"/>
                </a:moveTo>
                <a:lnTo>
                  <a:pt x="5386215" y="3245137"/>
                </a:lnTo>
                <a:lnTo>
                  <a:pt x="5386215" y="4205420"/>
                </a:lnTo>
                <a:lnTo>
                  <a:pt x="4402839" y="4205420"/>
                </a:lnTo>
                <a:close/>
                <a:moveTo>
                  <a:pt x="8827991" y="3245132"/>
                </a:moveTo>
                <a:lnTo>
                  <a:pt x="9811363" y="3245132"/>
                </a:lnTo>
                <a:lnTo>
                  <a:pt x="9811363" y="4205420"/>
                </a:lnTo>
                <a:lnTo>
                  <a:pt x="8827991" y="4205420"/>
                </a:lnTo>
                <a:close/>
                <a:moveTo>
                  <a:pt x="1117470" y="3245132"/>
                </a:moveTo>
                <a:lnTo>
                  <a:pt x="2100843" y="3245132"/>
                </a:lnTo>
                <a:lnTo>
                  <a:pt x="2100843" y="4205420"/>
                </a:lnTo>
                <a:lnTo>
                  <a:pt x="1117470" y="4205420"/>
                </a:lnTo>
                <a:close/>
                <a:moveTo>
                  <a:pt x="2212592" y="3234100"/>
                </a:moveTo>
                <a:lnTo>
                  <a:pt x="3195965" y="3234100"/>
                </a:lnTo>
                <a:lnTo>
                  <a:pt x="3195965" y="4205420"/>
                </a:lnTo>
                <a:lnTo>
                  <a:pt x="2212592" y="4205420"/>
                </a:lnTo>
                <a:close/>
                <a:moveTo>
                  <a:pt x="13219644" y="3234099"/>
                </a:moveTo>
                <a:lnTo>
                  <a:pt x="14203016" y="3234099"/>
                </a:lnTo>
                <a:lnTo>
                  <a:pt x="14203016" y="4205420"/>
                </a:lnTo>
                <a:lnTo>
                  <a:pt x="13219644" y="4205420"/>
                </a:lnTo>
                <a:close/>
                <a:moveTo>
                  <a:pt x="9934287" y="3234099"/>
                </a:moveTo>
                <a:lnTo>
                  <a:pt x="10906488" y="3234099"/>
                </a:lnTo>
                <a:lnTo>
                  <a:pt x="10906488" y="4205420"/>
                </a:lnTo>
                <a:lnTo>
                  <a:pt x="9934287" y="4205420"/>
                </a:lnTo>
                <a:close/>
                <a:moveTo>
                  <a:pt x="5509130" y="3234099"/>
                </a:moveTo>
                <a:lnTo>
                  <a:pt x="6481328" y="3234099"/>
                </a:lnTo>
                <a:lnTo>
                  <a:pt x="6481328" y="4205420"/>
                </a:lnTo>
                <a:lnTo>
                  <a:pt x="5509130" y="4205420"/>
                </a:lnTo>
                <a:close/>
                <a:moveTo>
                  <a:pt x="15432232" y="3234098"/>
                </a:moveTo>
                <a:lnTo>
                  <a:pt x="16415604" y="3234098"/>
                </a:lnTo>
                <a:lnTo>
                  <a:pt x="16415604" y="4205420"/>
                </a:lnTo>
                <a:lnTo>
                  <a:pt x="15432232" y="4205420"/>
                </a:lnTo>
                <a:close/>
                <a:moveTo>
                  <a:pt x="22350" y="3234097"/>
                </a:moveTo>
                <a:lnTo>
                  <a:pt x="994550" y="3234097"/>
                </a:lnTo>
                <a:lnTo>
                  <a:pt x="994550" y="4205420"/>
                </a:lnTo>
                <a:lnTo>
                  <a:pt x="22350" y="4205420"/>
                </a:lnTo>
                <a:close/>
                <a:moveTo>
                  <a:pt x="11029406" y="3234096"/>
                </a:moveTo>
                <a:lnTo>
                  <a:pt x="12012778" y="3234096"/>
                </a:lnTo>
                <a:lnTo>
                  <a:pt x="12012778" y="4205420"/>
                </a:lnTo>
                <a:lnTo>
                  <a:pt x="11029406" y="4205420"/>
                </a:lnTo>
                <a:close/>
                <a:moveTo>
                  <a:pt x="7732881" y="3234096"/>
                </a:moveTo>
                <a:lnTo>
                  <a:pt x="8716243" y="3234096"/>
                </a:lnTo>
                <a:lnTo>
                  <a:pt x="8716243" y="4205420"/>
                </a:lnTo>
                <a:lnTo>
                  <a:pt x="7732881" y="4205420"/>
                </a:lnTo>
                <a:close/>
                <a:moveTo>
                  <a:pt x="3307705" y="3234096"/>
                </a:moveTo>
                <a:lnTo>
                  <a:pt x="4291078" y="3234096"/>
                </a:lnTo>
                <a:lnTo>
                  <a:pt x="4291078" y="4205420"/>
                </a:lnTo>
                <a:lnTo>
                  <a:pt x="3307705" y="4205420"/>
                </a:lnTo>
                <a:close/>
                <a:moveTo>
                  <a:pt x="16538522" y="3234095"/>
                </a:moveTo>
                <a:lnTo>
                  <a:pt x="17510722" y="3234095"/>
                </a:lnTo>
                <a:lnTo>
                  <a:pt x="17510722" y="4205420"/>
                </a:lnTo>
                <a:lnTo>
                  <a:pt x="16538522" y="4205420"/>
                </a:lnTo>
                <a:close/>
                <a:moveTo>
                  <a:pt x="14314763" y="3234095"/>
                </a:moveTo>
                <a:lnTo>
                  <a:pt x="15298135" y="3234095"/>
                </a:lnTo>
                <a:lnTo>
                  <a:pt x="15298135" y="4205420"/>
                </a:lnTo>
                <a:lnTo>
                  <a:pt x="14314763" y="4205420"/>
                </a:lnTo>
                <a:close/>
                <a:moveTo>
                  <a:pt x="6604243" y="3234095"/>
                </a:moveTo>
                <a:lnTo>
                  <a:pt x="7576442" y="3234095"/>
                </a:lnTo>
                <a:lnTo>
                  <a:pt x="7576442" y="4205420"/>
                </a:lnTo>
                <a:lnTo>
                  <a:pt x="6604243" y="4205420"/>
                </a:lnTo>
                <a:close/>
                <a:moveTo>
                  <a:pt x="7732898" y="2163430"/>
                </a:moveTo>
                <a:lnTo>
                  <a:pt x="8716243" y="2163430"/>
                </a:lnTo>
                <a:lnTo>
                  <a:pt x="8716243" y="3123724"/>
                </a:lnTo>
                <a:lnTo>
                  <a:pt x="7732898" y="3123724"/>
                </a:lnTo>
                <a:close/>
                <a:moveTo>
                  <a:pt x="22364" y="2163430"/>
                </a:moveTo>
                <a:lnTo>
                  <a:pt x="994564" y="2163430"/>
                </a:lnTo>
                <a:lnTo>
                  <a:pt x="994564" y="3123724"/>
                </a:lnTo>
                <a:lnTo>
                  <a:pt x="22364" y="3123724"/>
                </a:lnTo>
                <a:close/>
                <a:moveTo>
                  <a:pt x="12124526" y="2163429"/>
                </a:moveTo>
                <a:lnTo>
                  <a:pt x="13107898" y="2163429"/>
                </a:lnTo>
                <a:lnTo>
                  <a:pt x="13107898" y="3123723"/>
                </a:lnTo>
                <a:lnTo>
                  <a:pt x="12124526" y="3123723"/>
                </a:lnTo>
                <a:close/>
                <a:moveTo>
                  <a:pt x="9934287" y="2163429"/>
                </a:moveTo>
                <a:lnTo>
                  <a:pt x="10906488" y="2163429"/>
                </a:lnTo>
                <a:lnTo>
                  <a:pt x="10906488" y="3123724"/>
                </a:lnTo>
                <a:lnTo>
                  <a:pt x="9934287" y="3123724"/>
                </a:lnTo>
                <a:close/>
                <a:moveTo>
                  <a:pt x="4402840" y="2163429"/>
                </a:moveTo>
                <a:lnTo>
                  <a:pt x="5386215" y="2163429"/>
                </a:lnTo>
                <a:lnTo>
                  <a:pt x="5386215" y="3123723"/>
                </a:lnTo>
                <a:lnTo>
                  <a:pt x="4402840" y="3123723"/>
                </a:lnTo>
                <a:close/>
                <a:moveTo>
                  <a:pt x="2212602" y="2163429"/>
                </a:moveTo>
                <a:lnTo>
                  <a:pt x="3195974" y="2163429"/>
                </a:lnTo>
                <a:lnTo>
                  <a:pt x="3195974" y="3123724"/>
                </a:lnTo>
                <a:lnTo>
                  <a:pt x="2212602" y="3123724"/>
                </a:lnTo>
                <a:close/>
                <a:moveTo>
                  <a:pt x="15432232" y="2163428"/>
                </a:moveTo>
                <a:lnTo>
                  <a:pt x="16415604" y="2163428"/>
                </a:lnTo>
                <a:lnTo>
                  <a:pt x="16415604" y="3123722"/>
                </a:lnTo>
                <a:lnTo>
                  <a:pt x="15432232" y="3123722"/>
                </a:lnTo>
                <a:close/>
                <a:moveTo>
                  <a:pt x="13219644" y="2163428"/>
                </a:moveTo>
                <a:lnTo>
                  <a:pt x="14203016" y="2163428"/>
                </a:lnTo>
                <a:lnTo>
                  <a:pt x="14203016" y="3123722"/>
                </a:lnTo>
                <a:lnTo>
                  <a:pt x="13219644" y="3123722"/>
                </a:lnTo>
                <a:close/>
                <a:moveTo>
                  <a:pt x="11029406" y="2163428"/>
                </a:moveTo>
                <a:lnTo>
                  <a:pt x="12012778" y="2163428"/>
                </a:lnTo>
                <a:lnTo>
                  <a:pt x="12012778" y="3123722"/>
                </a:lnTo>
                <a:lnTo>
                  <a:pt x="11029406" y="3123722"/>
                </a:lnTo>
                <a:close/>
                <a:moveTo>
                  <a:pt x="6604257" y="2163428"/>
                </a:moveTo>
                <a:lnTo>
                  <a:pt x="7576456" y="2163428"/>
                </a:lnTo>
                <a:lnTo>
                  <a:pt x="7576456" y="3123722"/>
                </a:lnTo>
                <a:lnTo>
                  <a:pt x="6604257" y="3123722"/>
                </a:lnTo>
                <a:close/>
                <a:moveTo>
                  <a:pt x="5509136" y="2163428"/>
                </a:moveTo>
                <a:lnTo>
                  <a:pt x="6481338" y="2163428"/>
                </a:lnTo>
                <a:lnTo>
                  <a:pt x="6481338" y="3123722"/>
                </a:lnTo>
                <a:lnTo>
                  <a:pt x="5509136" y="3123722"/>
                </a:lnTo>
                <a:close/>
                <a:moveTo>
                  <a:pt x="3307717" y="2163428"/>
                </a:moveTo>
                <a:lnTo>
                  <a:pt x="4291092" y="2163428"/>
                </a:lnTo>
                <a:lnTo>
                  <a:pt x="4291092" y="3123722"/>
                </a:lnTo>
                <a:lnTo>
                  <a:pt x="3307717" y="3123722"/>
                </a:lnTo>
                <a:close/>
                <a:moveTo>
                  <a:pt x="16538522" y="2163427"/>
                </a:moveTo>
                <a:lnTo>
                  <a:pt x="17510722" y="2163427"/>
                </a:lnTo>
                <a:lnTo>
                  <a:pt x="17510722" y="3123722"/>
                </a:lnTo>
                <a:lnTo>
                  <a:pt x="16538522" y="3123722"/>
                </a:lnTo>
                <a:close/>
                <a:moveTo>
                  <a:pt x="14314763" y="2163427"/>
                </a:moveTo>
                <a:lnTo>
                  <a:pt x="15298135" y="2163427"/>
                </a:lnTo>
                <a:lnTo>
                  <a:pt x="15298135" y="3123722"/>
                </a:lnTo>
                <a:lnTo>
                  <a:pt x="14314763" y="3123722"/>
                </a:lnTo>
                <a:close/>
                <a:moveTo>
                  <a:pt x="8827991" y="2163424"/>
                </a:moveTo>
                <a:lnTo>
                  <a:pt x="9811363" y="2163424"/>
                </a:lnTo>
                <a:lnTo>
                  <a:pt x="9811363" y="3123719"/>
                </a:lnTo>
                <a:lnTo>
                  <a:pt x="8827991" y="3123719"/>
                </a:lnTo>
                <a:close/>
                <a:moveTo>
                  <a:pt x="1117470" y="2163424"/>
                </a:moveTo>
                <a:lnTo>
                  <a:pt x="2100843" y="2163424"/>
                </a:lnTo>
                <a:lnTo>
                  <a:pt x="2100843" y="3123720"/>
                </a:lnTo>
                <a:lnTo>
                  <a:pt x="1117470" y="3123720"/>
                </a:lnTo>
                <a:close/>
                <a:moveTo>
                  <a:pt x="8827991" y="1081717"/>
                </a:moveTo>
                <a:lnTo>
                  <a:pt x="9811363" y="1081717"/>
                </a:lnTo>
                <a:lnTo>
                  <a:pt x="9811363" y="2042017"/>
                </a:lnTo>
                <a:lnTo>
                  <a:pt x="8827991" y="2042017"/>
                </a:lnTo>
                <a:close/>
                <a:moveTo>
                  <a:pt x="1117480" y="1081717"/>
                </a:moveTo>
                <a:lnTo>
                  <a:pt x="2100854" y="1081717"/>
                </a:lnTo>
                <a:lnTo>
                  <a:pt x="2100854" y="2042017"/>
                </a:lnTo>
                <a:lnTo>
                  <a:pt x="1117480" y="2042017"/>
                </a:lnTo>
                <a:close/>
                <a:moveTo>
                  <a:pt x="14314763" y="1081715"/>
                </a:moveTo>
                <a:lnTo>
                  <a:pt x="15298135" y="1081715"/>
                </a:lnTo>
                <a:lnTo>
                  <a:pt x="15298135" y="2042015"/>
                </a:lnTo>
                <a:lnTo>
                  <a:pt x="14314763" y="2042015"/>
                </a:lnTo>
                <a:close/>
                <a:moveTo>
                  <a:pt x="6604256" y="1081715"/>
                </a:moveTo>
                <a:lnTo>
                  <a:pt x="7576454" y="1081715"/>
                </a:lnTo>
                <a:lnTo>
                  <a:pt x="7576454" y="2042015"/>
                </a:lnTo>
                <a:lnTo>
                  <a:pt x="6604256" y="2042015"/>
                </a:lnTo>
                <a:close/>
                <a:moveTo>
                  <a:pt x="16538522" y="1081714"/>
                </a:moveTo>
                <a:lnTo>
                  <a:pt x="17510722" y="1081714"/>
                </a:lnTo>
                <a:lnTo>
                  <a:pt x="17510722" y="2042015"/>
                </a:lnTo>
                <a:lnTo>
                  <a:pt x="16538522" y="2042015"/>
                </a:lnTo>
                <a:close/>
                <a:moveTo>
                  <a:pt x="5509135" y="1081714"/>
                </a:moveTo>
                <a:lnTo>
                  <a:pt x="6481334" y="1081714"/>
                </a:lnTo>
                <a:lnTo>
                  <a:pt x="6481334" y="2042015"/>
                </a:lnTo>
                <a:lnTo>
                  <a:pt x="5509135" y="2042015"/>
                </a:lnTo>
                <a:close/>
                <a:moveTo>
                  <a:pt x="15432232" y="1081714"/>
                </a:moveTo>
                <a:lnTo>
                  <a:pt x="16415604" y="1081714"/>
                </a:lnTo>
                <a:lnTo>
                  <a:pt x="16415604" y="2042015"/>
                </a:lnTo>
                <a:lnTo>
                  <a:pt x="15432232" y="2042015"/>
                </a:lnTo>
                <a:close/>
                <a:moveTo>
                  <a:pt x="13219644" y="1081714"/>
                </a:moveTo>
                <a:lnTo>
                  <a:pt x="14203016" y="1081714"/>
                </a:lnTo>
                <a:lnTo>
                  <a:pt x="14203016" y="2042015"/>
                </a:lnTo>
                <a:lnTo>
                  <a:pt x="13219644" y="2042015"/>
                </a:lnTo>
                <a:close/>
                <a:moveTo>
                  <a:pt x="12135697" y="1081714"/>
                </a:moveTo>
                <a:lnTo>
                  <a:pt x="13119069" y="1081714"/>
                </a:lnTo>
                <a:lnTo>
                  <a:pt x="13119069" y="2042014"/>
                </a:lnTo>
                <a:lnTo>
                  <a:pt x="12135697" y="2042014"/>
                </a:lnTo>
                <a:close/>
                <a:moveTo>
                  <a:pt x="11029406" y="1081714"/>
                </a:moveTo>
                <a:lnTo>
                  <a:pt x="12012778" y="1081714"/>
                </a:lnTo>
                <a:lnTo>
                  <a:pt x="12012778" y="2042014"/>
                </a:lnTo>
                <a:lnTo>
                  <a:pt x="11029406" y="2042014"/>
                </a:lnTo>
                <a:close/>
                <a:moveTo>
                  <a:pt x="4414012" y="1081714"/>
                </a:moveTo>
                <a:lnTo>
                  <a:pt x="5397385" y="1081714"/>
                </a:lnTo>
                <a:lnTo>
                  <a:pt x="5397385" y="2042014"/>
                </a:lnTo>
                <a:lnTo>
                  <a:pt x="4414012" y="2042014"/>
                </a:lnTo>
                <a:close/>
                <a:moveTo>
                  <a:pt x="3307713" y="1081714"/>
                </a:moveTo>
                <a:lnTo>
                  <a:pt x="4291088" y="1081714"/>
                </a:lnTo>
                <a:lnTo>
                  <a:pt x="4291088" y="2042014"/>
                </a:lnTo>
                <a:lnTo>
                  <a:pt x="3307713" y="2042014"/>
                </a:lnTo>
                <a:close/>
                <a:moveTo>
                  <a:pt x="9934287" y="1081711"/>
                </a:moveTo>
                <a:lnTo>
                  <a:pt x="10906488" y="1081711"/>
                </a:lnTo>
                <a:lnTo>
                  <a:pt x="10906488" y="2042012"/>
                </a:lnTo>
                <a:lnTo>
                  <a:pt x="9934287" y="2042012"/>
                </a:lnTo>
                <a:close/>
                <a:moveTo>
                  <a:pt x="2212590" y="1081711"/>
                </a:moveTo>
                <a:lnTo>
                  <a:pt x="3195962" y="1081711"/>
                </a:lnTo>
                <a:lnTo>
                  <a:pt x="3195962" y="2042012"/>
                </a:lnTo>
                <a:lnTo>
                  <a:pt x="2212590" y="2042012"/>
                </a:lnTo>
                <a:close/>
                <a:moveTo>
                  <a:pt x="7732898" y="1070681"/>
                </a:moveTo>
                <a:lnTo>
                  <a:pt x="8716243" y="1070681"/>
                </a:lnTo>
                <a:lnTo>
                  <a:pt x="8716243" y="2030981"/>
                </a:lnTo>
                <a:lnTo>
                  <a:pt x="7732898" y="2030981"/>
                </a:lnTo>
                <a:close/>
                <a:moveTo>
                  <a:pt x="22364" y="1070681"/>
                </a:moveTo>
                <a:lnTo>
                  <a:pt x="994563" y="1070681"/>
                </a:lnTo>
                <a:lnTo>
                  <a:pt x="994563" y="2030981"/>
                </a:lnTo>
                <a:lnTo>
                  <a:pt x="22364" y="2030981"/>
                </a:lnTo>
                <a:close/>
                <a:moveTo>
                  <a:pt x="3307713" y="4"/>
                </a:moveTo>
                <a:lnTo>
                  <a:pt x="4291086" y="4"/>
                </a:lnTo>
                <a:lnTo>
                  <a:pt x="4291086" y="960300"/>
                </a:lnTo>
                <a:lnTo>
                  <a:pt x="3307713" y="960300"/>
                </a:lnTo>
                <a:close/>
                <a:moveTo>
                  <a:pt x="11029406" y="4"/>
                </a:moveTo>
                <a:lnTo>
                  <a:pt x="12012778" y="4"/>
                </a:lnTo>
                <a:lnTo>
                  <a:pt x="12012778" y="960300"/>
                </a:lnTo>
                <a:lnTo>
                  <a:pt x="11029406" y="960300"/>
                </a:lnTo>
                <a:close/>
                <a:moveTo>
                  <a:pt x="4402834" y="4"/>
                </a:moveTo>
                <a:lnTo>
                  <a:pt x="5386206" y="4"/>
                </a:lnTo>
                <a:lnTo>
                  <a:pt x="5386206" y="960300"/>
                </a:lnTo>
                <a:lnTo>
                  <a:pt x="4402834" y="960300"/>
                </a:lnTo>
                <a:close/>
                <a:moveTo>
                  <a:pt x="12124526" y="4"/>
                </a:moveTo>
                <a:lnTo>
                  <a:pt x="13107898" y="4"/>
                </a:lnTo>
                <a:lnTo>
                  <a:pt x="13107898" y="960300"/>
                </a:lnTo>
                <a:lnTo>
                  <a:pt x="12124526" y="960300"/>
                </a:lnTo>
                <a:close/>
                <a:moveTo>
                  <a:pt x="5509132" y="4"/>
                </a:moveTo>
                <a:lnTo>
                  <a:pt x="6481332" y="4"/>
                </a:lnTo>
                <a:lnTo>
                  <a:pt x="6481332" y="960300"/>
                </a:lnTo>
                <a:lnTo>
                  <a:pt x="5509132" y="960300"/>
                </a:lnTo>
                <a:close/>
                <a:moveTo>
                  <a:pt x="13219644" y="3"/>
                </a:moveTo>
                <a:lnTo>
                  <a:pt x="14203016" y="3"/>
                </a:lnTo>
                <a:lnTo>
                  <a:pt x="14203016" y="960300"/>
                </a:lnTo>
                <a:lnTo>
                  <a:pt x="13219644" y="960300"/>
                </a:lnTo>
                <a:close/>
                <a:moveTo>
                  <a:pt x="15432232" y="3"/>
                </a:moveTo>
                <a:lnTo>
                  <a:pt x="16415604" y="3"/>
                </a:lnTo>
                <a:lnTo>
                  <a:pt x="16415604" y="960299"/>
                </a:lnTo>
                <a:lnTo>
                  <a:pt x="15432232" y="960299"/>
                </a:lnTo>
                <a:close/>
                <a:moveTo>
                  <a:pt x="6615422" y="3"/>
                </a:moveTo>
                <a:lnTo>
                  <a:pt x="7587621" y="3"/>
                </a:lnTo>
                <a:lnTo>
                  <a:pt x="7587621" y="960299"/>
                </a:lnTo>
                <a:lnTo>
                  <a:pt x="6615422" y="960299"/>
                </a:lnTo>
                <a:close/>
                <a:moveTo>
                  <a:pt x="14325934" y="3"/>
                </a:moveTo>
                <a:lnTo>
                  <a:pt x="15309306" y="3"/>
                </a:lnTo>
                <a:lnTo>
                  <a:pt x="15309306" y="960299"/>
                </a:lnTo>
                <a:lnTo>
                  <a:pt x="14325934" y="960299"/>
                </a:lnTo>
                <a:close/>
                <a:moveTo>
                  <a:pt x="16538522" y="3"/>
                </a:moveTo>
                <a:lnTo>
                  <a:pt x="17521894" y="3"/>
                </a:lnTo>
                <a:lnTo>
                  <a:pt x="17521894" y="960299"/>
                </a:lnTo>
                <a:lnTo>
                  <a:pt x="16538522" y="960299"/>
                </a:lnTo>
                <a:close/>
                <a:moveTo>
                  <a:pt x="2212590" y="1"/>
                </a:moveTo>
                <a:lnTo>
                  <a:pt x="3195962" y="1"/>
                </a:lnTo>
                <a:lnTo>
                  <a:pt x="3195962" y="960298"/>
                </a:lnTo>
                <a:lnTo>
                  <a:pt x="2212590" y="960298"/>
                </a:lnTo>
                <a:close/>
                <a:moveTo>
                  <a:pt x="9934287" y="1"/>
                </a:moveTo>
                <a:lnTo>
                  <a:pt x="10906488" y="1"/>
                </a:lnTo>
                <a:lnTo>
                  <a:pt x="10906488" y="960297"/>
                </a:lnTo>
                <a:lnTo>
                  <a:pt x="9934287" y="960297"/>
                </a:lnTo>
                <a:close/>
                <a:moveTo>
                  <a:pt x="1106297" y="1"/>
                </a:moveTo>
                <a:lnTo>
                  <a:pt x="2089670" y="1"/>
                </a:lnTo>
                <a:lnTo>
                  <a:pt x="2089670" y="960297"/>
                </a:lnTo>
                <a:lnTo>
                  <a:pt x="1106297" y="960297"/>
                </a:lnTo>
                <a:close/>
                <a:moveTo>
                  <a:pt x="8827991" y="1"/>
                </a:moveTo>
                <a:lnTo>
                  <a:pt x="9800192" y="1"/>
                </a:lnTo>
                <a:lnTo>
                  <a:pt x="9800192" y="960297"/>
                </a:lnTo>
                <a:lnTo>
                  <a:pt x="8827991" y="960297"/>
                </a:lnTo>
                <a:close/>
                <a:moveTo>
                  <a:pt x="0" y="1"/>
                </a:moveTo>
                <a:lnTo>
                  <a:pt x="983372" y="1"/>
                </a:lnTo>
                <a:lnTo>
                  <a:pt x="983372" y="960297"/>
                </a:lnTo>
                <a:lnTo>
                  <a:pt x="0" y="960297"/>
                </a:lnTo>
                <a:close/>
                <a:moveTo>
                  <a:pt x="7721711" y="0"/>
                </a:moveTo>
                <a:lnTo>
                  <a:pt x="8693901" y="0"/>
                </a:lnTo>
                <a:lnTo>
                  <a:pt x="8693901" y="960297"/>
                </a:lnTo>
                <a:lnTo>
                  <a:pt x="7721711" y="960297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66819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sz="quarter" idx="10"/>
          </p:nvPr>
        </p:nvSpPr>
        <p:spPr>
          <a:xfrm>
            <a:off x="1290097" y="2079950"/>
            <a:ext cx="3810000" cy="3809412"/>
          </a:xfrm>
          <a:custGeom>
            <a:avLst/>
            <a:gdLst>
              <a:gd name="connsiteX0" fmla="*/ 2857500 w 5715000"/>
              <a:gd name="connsiteY0" fmla="*/ 1598631 h 5715000"/>
              <a:gd name="connsiteX1" fmla="*/ 4116369 w 5715000"/>
              <a:gd name="connsiteY1" fmla="*/ 2857500 h 5715000"/>
              <a:gd name="connsiteX2" fmla="*/ 2857500 w 5715000"/>
              <a:gd name="connsiteY2" fmla="*/ 4116369 h 5715000"/>
              <a:gd name="connsiteX3" fmla="*/ 1598631 w 5715000"/>
              <a:gd name="connsiteY3" fmla="*/ 2857500 h 5715000"/>
              <a:gd name="connsiteX4" fmla="*/ 2857500 w 5715000"/>
              <a:gd name="connsiteY4" fmla="*/ 1598631 h 5715000"/>
              <a:gd name="connsiteX5" fmla="*/ 2857500 w 5715000"/>
              <a:gd name="connsiteY5" fmla="*/ 1477944 h 5715000"/>
              <a:gd name="connsiteX6" fmla="*/ 1477944 w 5715000"/>
              <a:gd name="connsiteY6" fmla="*/ 2857500 h 5715000"/>
              <a:gd name="connsiteX7" fmla="*/ 2857500 w 5715000"/>
              <a:gd name="connsiteY7" fmla="*/ 4237056 h 5715000"/>
              <a:gd name="connsiteX8" fmla="*/ 4237056 w 5715000"/>
              <a:gd name="connsiteY8" fmla="*/ 2857500 h 5715000"/>
              <a:gd name="connsiteX9" fmla="*/ 2857500 w 5715000"/>
              <a:gd name="connsiteY9" fmla="*/ 1477944 h 5715000"/>
              <a:gd name="connsiteX10" fmla="*/ 2857500 w 5715000"/>
              <a:gd name="connsiteY10" fmla="*/ 0 h 5715000"/>
              <a:gd name="connsiteX11" fmla="*/ 5715000 w 5715000"/>
              <a:gd name="connsiteY11" fmla="*/ 2857500 h 5715000"/>
              <a:gd name="connsiteX12" fmla="*/ 2857500 w 5715000"/>
              <a:gd name="connsiteY12" fmla="*/ 5715000 h 5715000"/>
              <a:gd name="connsiteX13" fmla="*/ 0 w 5715000"/>
              <a:gd name="connsiteY13" fmla="*/ 2857500 h 5715000"/>
              <a:gd name="connsiteX14" fmla="*/ 2857500 w 5715000"/>
              <a:gd name="connsiteY14" fmla="*/ 0 h 571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715000" h="5715000">
                <a:moveTo>
                  <a:pt x="2857500" y="1598631"/>
                </a:moveTo>
                <a:cubicBezTo>
                  <a:pt x="3552754" y="1598631"/>
                  <a:pt x="4116369" y="2162246"/>
                  <a:pt x="4116369" y="2857500"/>
                </a:cubicBezTo>
                <a:cubicBezTo>
                  <a:pt x="4116369" y="3552754"/>
                  <a:pt x="3552754" y="4116369"/>
                  <a:pt x="2857500" y="4116369"/>
                </a:cubicBezTo>
                <a:cubicBezTo>
                  <a:pt x="2162246" y="4116369"/>
                  <a:pt x="1598631" y="3552754"/>
                  <a:pt x="1598631" y="2857500"/>
                </a:cubicBezTo>
                <a:cubicBezTo>
                  <a:pt x="1598631" y="2162246"/>
                  <a:pt x="2162246" y="1598631"/>
                  <a:pt x="2857500" y="1598631"/>
                </a:cubicBezTo>
                <a:close/>
                <a:moveTo>
                  <a:pt x="2857500" y="1477944"/>
                </a:moveTo>
                <a:cubicBezTo>
                  <a:pt x="2095592" y="1477944"/>
                  <a:pt x="1477944" y="2095592"/>
                  <a:pt x="1477944" y="2857500"/>
                </a:cubicBezTo>
                <a:cubicBezTo>
                  <a:pt x="1477944" y="3619408"/>
                  <a:pt x="2095592" y="4237056"/>
                  <a:pt x="2857500" y="4237056"/>
                </a:cubicBezTo>
                <a:cubicBezTo>
                  <a:pt x="3619408" y="4237056"/>
                  <a:pt x="4237056" y="3619408"/>
                  <a:pt x="4237056" y="2857500"/>
                </a:cubicBezTo>
                <a:cubicBezTo>
                  <a:pt x="4237056" y="2095592"/>
                  <a:pt x="3619408" y="1477944"/>
                  <a:pt x="2857500" y="1477944"/>
                </a:cubicBezTo>
                <a:close/>
                <a:moveTo>
                  <a:pt x="2857500" y="0"/>
                </a:moveTo>
                <a:cubicBezTo>
                  <a:pt x="4435654" y="0"/>
                  <a:pt x="5715000" y="1279346"/>
                  <a:pt x="5715000" y="2857500"/>
                </a:cubicBezTo>
                <a:cubicBezTo>
                  <a:pt x="5715000" y="4435654"/>
                  <a:pt x="4435654" y="5715000"/>
                  <a:pt x="2857500" y="5715000"/>
                </a:cubicBezTo>
                <a:cubicBezTo>
                  <a:pt x="1279346" y="5715000"/>
                  <a:pt x="0" y="4435654"/>
                  <a:pt x="0" y="2857500"/>
                </a:cubicBezTo>
                <a:cubicBezTo>
                  <a:pt x="0" y="1279346"/>
                  <a:pt x="1279346" y="0"/>
                  <a:pt x="2857500" y="0"/>
                </a:cubicBez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A3DA177-AAA6-C747-A532-94EF5F523837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0DA256F-1B39-D84D-ADC2-E026A1B4146A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C6CE324C-3444-A14E-9C65-A01E60CA6D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942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3520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9"/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1073855" y="1717459"/>
            <a:ext cx="4242483" cy="4241830"/>
          </a:xfrm>
          <a:custGeom>
            <a:avLst/>
            <a:gdLst>
              <a:gd name="T0" fmla="*/ 1402 w 2805"/>
              <a:gd name="T1" fmla="*/ 0 h 2803"/>
              <a:gd name="T2" fmla="*/ 2805 w 2805"/>
              <a:gd name="T3" fmla="*/ 1401 h 2803"/>
              <a:gd name="T4" fmla="*/ 1402 w 2805"/>
              <a:gd name="T5" fmla="*/ 2803 h 2803"/>
              <a:gd name="T6" fmla="*/ 0 w 2805"/>
              <a:gd name="T7" fmla="*/ 1401 h 2803"/>
              <a:gd name="T8" fmla="*/ 1402 w 2805"/>
              <a:gd name="T9" fmla="*/ 0 h 2803"/>
              <a:gd name="T10" fmla="*/ 1402 w 2805"/>
              <a:gd name="T11" fmla="*/ 740 h 2803"/>
              <a:gd name="T12" fmla="*/ 2065 w 2805"/>
              <a:gd name="T13" fmla="*/ 1401 h 2803"/>
              <a:gd name="T14" fmla="*/ 1402 w 2805"/>
              <a:gd name="T15" fmla="*/ 2063 h 2803"/>
              <a:gd name="T16" fmla="*/ 741 w 2805"/>
              <a:gd name="T17" fmla="*/ 1401 h 2803"/>
              <a:gd name="T18" fmla="*/ 1402 w 2805"/>
              <a:gd name="T19" fmla="*/ 740 h 2803"/>
              <a:gd name="T20" fmla="*/ 1402 w 2805"/>
              <a:gd name="T21" fmla="*/ 655 h 2803"/>
              <a:gd name="T22" fmla="*/ 2150 w 2805"/>
              <a:gd name="T23" fmla="*/ 1401 h 2803"/>
              <a:gd name="T24" fmla="*/ 1402 w 2805"/>
              <a:gd name="T25" fmla="*/ 2148 h 2803"/>
              <a:gd name="T26" fmla="*/ 655 w 2805"/>
              <a:gd name="T27" fmla="*/ 1401 h 2803"/>
              <a:gd name="T28" fmla="*/ 1402 w 2805"/>
              <a:gd name="T29" fmla="*/ 655 h 28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805" h="2803">
                <a:moveTo>
                  <a:pt x="1402" y="0"/>
                </a:moveTo>
                <a:lnTo>
                  <a:pt x="2805" y="1401"/>
                </a:lnTo>
                <a:lnTo>
                  <a:pt x="1402" y="2803"/>
                </a:lnTo>
                <a:lnTo>
                  <a:pt x="0" y="1401"/>
                </a:lnTo>
                <a:lnTo>
                  <a:pt x="1402" y="0"/>
                </a:lnTo>
                <a:close/>
                <a:moveTo>
                  <a:pt x="1402" y="740"/>
                </a:moveTo>
                <a:lnTo>
                  <a:pt x="2065" y="1401"/>
                </a:lnTo>
                <a:lnTo>
                  <a:pt x="1402" y="2063"/>
                </a:lnTo>
                <a:lnTo>
                  <a:pt x="741" y="1401"/>
                </a:lnTo>
                <a:lnTo>
                  <a:pt x="1402" y="740"/>
                </a:lnTo>
                <a:close/>
                <a:moveTo>
                  <a:pt x="1402" y="655"/>
                </a:moveTo>
                <a:lnTo>
                  <a:pt x="2150" y="1401"/>
                </a:lnTo>
                <a:lnTo>
                  <a:pt x="1402" y="2148"/>
                </a:lnTo>
                <a:lnTo>
                  <a:pt x="655" y="1401"/>
                </a:lnTo>
                <a:lnTo>
                  <a:pt x="1402" y="655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0858493-6897-1548-907D-4D138968EF4C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DAFBB9B-B0AC-454F-8BB0-5BE56A30B5C9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AF854286-77C0-0545-B91A-BA15C8156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942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9427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0"/>
          <p:cNvSpPr>
            <a:spLocks noGrp="1" noChangeAspect="1" noEditPoints="1"/>
          </p:cNvSpPr>
          <p:nvPr>
            <p:ph type="pic" sz="quarter" idx="10"/>
          </p:nvPr>
        </p:nvSpPr>
        <p:spPr bwMode="auto">
          <a:xfrm flipH="1">
            <a:off x="-1" y="0"/>
            <a:ext cx="9808013" cy="3006896"/>
          </a:xfrm>
          <a:custGeom>
            <a:avLst/>
            <a:gdLst>
              <a:gd name="T0" fmla="*/ 6457 w 7550"/>
              <a:gd name="T1" fmla="*/ 903 h 2315"/>
              <a:gd name="T2" fmla="*/ 6417 w 7550"/>
              <a:gd name="T3" fmla="*/ 1027 h 2315"/>
              <a:gd name="T4" fmla="*/ 6432 w 7550"/>
              <a:gd name="T5" fmla="*/ 1156 h 2315"/>
              <a:gd name="T6" fmla="*/ 6503 w 7550"/>
              <a:gd name="T7" fmla="*/ 1270 h 2315"/>
              <a:gd name="T8" fmla="*/ 6617 w 7550"/>
              <a:gd name="T9" fmla="*/ 1341 h 2315"/>
              <a:gd name="T10" fmla="*/ 6746 w 7550"/>
              <a:gd name="T11" fmla="*/ 1356 h 2315"/>
              <a:gd name="T12" fmla="*/ 6871 w 7550"/>
              <a:gd name="T13" fmla="*/ 1316 h 2315"/>
              <a:gd name="T14" fmla="*/ 4907 w 7550"/>
              <a:gd name="T15" fmla="*/ 1501 h 2315"/>
              <a:gd name="T16" fmla="*/ 4836 w 7550"/>
              <a:gd name="T17" fmla="*/ 1615 h 2315"/>
              <a:gd name="T18" fmla="*/ 4821 w 7550"/>
              <a:gd name="T19" fmla="*/ 1745 h 2315"/>
              <a:gd name="T20" fmla="*/ 4861 w 7550"/>
              <a:gd name="T21" fmla="*/ 1870 h 2315"/>
              <a:gd name="T22" fmla="*/ 4955 w 7550"/>
              <a:gd name="T23" fmla="*/ 1968 h 2315"/>
              <a:gd name="T24" fmla="*/ 5078 w 7550"/>
              <a:gd name="T25" fmla="*/ 2014 h 2315"/>
              <a:gd name="T26" fmla="*/ 5207 w 7550"/>
              <a:gd name="T27" fmla="*/ 2004 h 2315"/>
              <a:gd name="T28" fmla="*/ 5324 w 7550"/>
              <a:gd name="T29" fmla="*/ 1940 h 2315"/>
              <a:gd name="T30" fmla="*/ 3635 w 7550"/>
              <a:gd name="T31" fmla="*/ 1847 h 2315"/>
              <a:gd name="T32" fmla="*/ 3588 w 7550"/>
              <a:gd name="T33" fmla="*/ 1970 h 2315"/>
              <a:gd name="T34" fmla="*/ 3597 w 7550"/>
              <a:gd name="T35" fmla="*/ 2100 h 2315"/>
              <a:gd name="T36" fmla="*/ 3663 w 7550"/>
              <a:gd name="T37" fmla="*/ 2216 h 2315"/>
              <a:gd name="T38" fmla="*/ 3773 w 7550"/>
              <a:gd name="T39" fmla="*/ 2293 h 2315"/>
              <a:gd name="T40" fmla="*/ 3901 w 7550"/>
              <a:gd name="T41" fmla="*/ 2315 h 2315"/>
              <a:gd name="T42" fmla="*/ 4028 w 7550"/>
              <a:gd name="T43" fmla="*/ 2281 h 2315"/>
              <a:gd name="T44" fmla="*/ 4538 w 7550"/>
              <a:gd name="T45" fmla="*/ 0 h 2315"/>
              <a:gd name="T46" fmla="*/ 3395 w 7550"/>
              <a:gd name="T47" fmla="*/ 1176 h 2315"/>
              <a:gd name="T48" fmla="*/ 3373 w 7550"/>
              <a:gd name="T49" fmla="*/ 1305 h 2315"/>
              <a:gd name="T50" fmla="*/ 3407 w 7550"/>
              <a:gd name="T51" fmla="*/ 1431 h 2315"/>
              <a:gd name="T52" fmla="*/ 3496 w 7550"/>
              <a:gd name="T53" fmla="*/ 1535 h 2315"/>
              <a:gd name="T54" fmla="*/ 3616 w 7550"/>
              <a:gd name="T55" fmla="*/ 1587 h 2315"/>
              <a:gd name="T56" fmla="*/ 3747 w 7550"/>
              <a:gd name="T57" fmla="*/ 1584 h 2315"/>
              <a:gd name="T58" fmla="*/ 3866 w 7550"/>
              <a:gd name="T59" fmla="*/ 1525 h 2315"/>
              <a:gd name="T60" fmla="*/ 2175 w 7550"/>
              <a:gd name="T61" fmla="*/ 1432 h 2315"/>
              <a:gd name="T62" fmla="*/ 2122 w 7550"/>
              <a:gd name="T63" fmla="*/ 1553 h 2315"/>
              <a:gd name="T64" fmla="*/ 2125 w 7550"/>
              <a:gd name="T65" fmla="*/ 1682 h 2315"/>
              <a:gd name="T66" fmla="*/ 2184 w 7550"/>
              <a:gd name="T67" fmla="*/ 1801 h 2315"/>
              <a:gd name="T68" fmla="*/ 2291 w 7550"/>
              <a:gd name="T69" fmla="*/ 1885 h 2315"/>
              <a:gd name="T70" fmla="*/ 2418 w 7550"/>
              <a:gd name="T71" fmla="*/ 1913 h 2315"/>
              <a:gd name="T72" fmla="*/ 2546 w 7550"/>
              <a:gd name="T73" fmla="*/ 1885 h 2315"/>
              <a:gd name="T74" fmla="*/ 3522 w 7550"/>
              <a:gd name="T75" fmla="*/ 0 h 2315"/>
              <a:gd name="T76" fmla="*/ 1012 w 7550"/>
              <a:gd name="T77" fmla="*/ 1680 h 2315"/>
              <a:gd name="T78" fmla="*/ 983 w 7550"/>
              <a:gd name="T79" fmla="*/ 1807 h 2315"/>
              <a:gd name="T80" fmla="*/ 1012 w 7550"/>
              <a:gd name="T81" fmla="*/ 1935 h 2315"/>
              <a:gd name="T82" fmla="*/ 1094 w 7550"/>
              <a:gd name="T83" fmla="*/ 2043 h 2315"/>
              <a:gd name="T84" fmla="*/ 1213 w 7550"/>
              <a:gd name="T85" fmla="*/ 2101 h 2315"/>
              <a:gd name="T86" fmla="*/ 1343 w 7550"/>
              <a:gd name="T87" fmla="*/ 2104 h 2315"/>
              <a:gd name="T88" fmla="*/ 1465 w 7550"/>
              <a:gd name="T89" fmla="*/ 2052 h 2315"/>
              <a:gd name="T90" fmla="*/ 67 w 7550"/>
              <a:gd name="T91" fmla="*/ 1664 h 2315"/>
              <a:gd name="T92" fmla="*/ 9 w 7550"/>
              <a:gd name="T93" fmla="*/ 1783 h 2315"/>
              <a:gd name="T94" fmla="*/ 6 w 7550"/>
              <a:gd name="T95" fmla="*/ 1913 h 2315"/>
              <a:gd name="T96" fmla="*/ 58 w 7550"/>
              <a:gd name="T97" fmla="*/ 2034 h 2315"/>
              <a:gd name="T98" fmla="*/ 161 w 7550"/>
              <a:gd name="T99" fmla="*/ 2122 h 2315"/>
              <a:gd name="T100" fmla="*/ 288 w 7550"/>
              <a:gd name="T101" fmla="*/ 2156 h 2315"/>
              <a:gd name="T102" fmla="*/ 417 w 7550"/>
              <a:gd name="T103" fmla="*/ 2135 h 2315"/>
              <a:gd name="T104" fmla="*/ 2585 w 7550"/>
              <a:gd name="T105" fmla="*/ 0 h 2315"/>
              <a:gd name="T106" fmla="*/ 100 w 7550"/>
              <a:gd name="T107" fmla="*/ 712 h 2315"/>
              <a:gd name="T108" fmla="*/ 66 w 7550"/>
              <a:gd name="T109" fmla="*/ 839 h 2315"/>
              <a:gd name="T110" fmla="*/ 88 w 7550"/>
              <a:gd name="T111" fmla="*/ 968 h 2315"/>
              <a:gd name="T112" fmla="*/ 166 w 7550"/>
              <a:gd name="T113" fmla="*/ 1078 h 2315"/>
              <a:gd name="T114" fmla="*/ 282 w 7550"/>
              <a:gd name="T115" fmla="*/ 1143 h 2315"/>
              <a:gd name="T116" fmla="*/ 412 w 7550"/>
              <a:gd name="T117" fmla="*/ 1152 h 2315"/>
              <a:gd name="T118" fmla="*/ 534 w 7550"/>
              <a:gd name="T119" fmla="*/ 1106 h 2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550" h="2315">
                <a:moveTo>
                  <a:pt x="7550" y="651"/>
                </a:moveTo>
                <a:lnTo>
                  <a:pt x="7550" y="0"/>
                </a:lnTo>
                <a:lnTo>
                  <a:pt x="7346" y="0"/>
                </a:lnTo>
                <a:lnTo>
                  <a:pt x="6503" y="842"/>
                </a:lnTo>
                <a:lnTo>
                  <a:pt x="6492" y="853"/>
                </a:lnTo>
                <a:lnTo>
                  <a:pt x="6482" y="865"/>
                </a:lnTo>
                <a:lnTo>
                  <a:pt x="6473" y="877"/>
                </a:lnTo>
                <a:lnTo>
                  <a:pt x="6465" y="890"/>
                </a:lnTo>
                <a:lnTo>
                  <a:pt x="6457" y="903"/>
                </a:lnTo>
                <a:lnTo>
                  <a:pt x="6450" y="916"/>
                </a:lnTo>
                <a:lnTo>
                  <a:pt x="6443" y="929"/>
                </a:lnTo>
                <a:lnTo>
                  <a:pt x="6437" y="942"/>
                </a:lnTo>
                <a:lnTo>
                  <a:pt x="6432" y="956"/>
                </a:lnTo>
                <a:lnTo>
                  <a:pt x="6428" y="970"/>
                </a:lnTo>
                <a:lnTo>
                  <a:pt x="6424" y="984"/>
                </a:lnTo>
                <a:lnTo>
                  <a:pt x="6421" y="998"/>
                </a:lnTo>
                <a:lnTo>
                  <a:pt x="6418" y="1012"/>
                </a:lnTo>
                <a:lnTo>
                  <a:pt x="6417" y="1027"/>
                </a:lnTo>
                <a:lnTo>
                  <a:pt x="6416" y="1042"/>
                </a:lnTo>
                <a:lnTo>
                  <a:pt x="6415" y="1057"/>
                </a:lnTo>
                <a:lnTo>
                  <a:pt x="6416" y="1071"/>
                </a:lnTo>
                <a:lnTo>
                  <a:pt x="6417" y="1085"/>
                </a:lnTo>
                <a:lnTo>
                  <a:pt x="6418" y="1100"/>
                </a:lnTo>
                <a:lnTo>
                  <a:pt x="6421" y="1114"/>
                </a:lnTo>
                <a:lnTo>
                  <a:pt x="6424" y="1128"/>
                </a:lnTo>
                <a:lnTo>
                  <a:pt x="6428" y="1142"/>
                </a:lnTo>
                <a:lnTo>
                  <a:pt x="6432" y="1156"/>
                </a:lnTo>
                <a:lnTo>
                  <a:pt x="6437" y="1170"/>
                </a:lnTo>
                <a:lnTo>
                  <a:pt x="6443" y="1183"/>
                </a:lnTo>
                <a:lnTo>
                  <a:pt x="6450" y="1196"/>
                </a:lnTo>
                <a:lnTo>
                  <a:pt x="6457" y="1210"/>
                </a:lnTo>
                <a:lnTo>
                  <a:pt x="6465" y="1223"/>
                </a:lnTo>
                <a:lnTo>
                  <a:pt x="6473" y="1235"/>
                </a:lnTo>
                <a:lnTo>
                  <a:pt x="6482" y="1247"/>
                </a:lnTo>
                <a:lnTo>
                  <a:pt x="6492" y="1259"/>
                </a:lnTo>
                <a:lnTo>
                  <a:pt x="6503" y="1270"/>
                </a:lnTo>
                <a:lnTo>
                  <a:pt x="6514" y="1281"/>
                </a:lnTo>
                <a:lnTo>
                  <a:pt x="6526" y="1291"/>
                </a:lnTo>
                <a:lnTo>
                  <a:pt x="6538" y="1300"/>
                </a:lnTo>
                <a:lnTo>
                  <a:pt x="6550" y="1308"/>
                </a:lnTo>
                <a:lnTo>
                  <a:pt x="6564" y="1316"/>
                </a:lnTo>
                <a:lnTo>
                  <a:pt x="6577" y="1324"/>
                </a:lnTo>
                <a:lnTo>
                  <a:pt x="6590" y="1330"/>
                </a:lnTo>
                <a:lnTo>
                  <a:pt x="6603" y="1336"/>
                </a:lnTo>
                <a:lnTo>
                  <a:pt x="6617" y="1341"/>
                </a:lnTo>
                <a:lnTo>
                  <a:pt x="6631" y="1345"/>
                </a:lnTo>
                <a:lnTo>
                  <a:pt x="6645" y="1349"/>
                </a:lnTo>
                <a:lnTo>
                  <a:pt x="6659" y="1352"/>
                </a:lnTo>
                <a:lnTo>
                  <a:pt x="6673" y="1355"/>
                </a:lnTo>
                <a:lnTo>
                  <a:pt x="6688" y="1356"/>
                </a:lnTo>
                <a:lnTo>
                  <a:pt x="6702" y="1357"/>
                </a:lnTo>
                <a:lnTo>
                  <a:pt x="6717" y="1358"/>
                </a:lnTo>
                <a:lnTo>
                  <a:pt x="6732" y="1357"/>
                </a:lnTo>
                <a:lnTo>
                  <a:pt x="6746" y="1356"/>
                </a:lnTo>
                <a:lnTo>
                  <a:pt x="6761" y="1355"/>
                </a:lnTo>
                <a:lnTo>
                  <a:pt x="6775" y="1352"/>
                </a:lnTo>
                <a:lnTo>
                  <a:pt x="6789" y="1349"/>
                </a:lnTo>
                <a:lnTo>
                  <a:pt x="6803" y="1345"/>
                </a:lnTo>
                <a:lnTo>
                  <a:pt x="6817" y="1341"/>
                </a:lnTo>
                <a:lnTo>
                  <a:pt x="6831" y="1336"/>
                </a:lnTo>
                <a:lnTo>
                  <a:pt x="6844" y="1330"/>
                </a:lnTo>
                <a:lnTo>
                  <a:pt x="6858" y="1324"/>
                </a:lnTo>
                <a:lnTo>
                  <a:pt x="6871" y="1316"/>
                </a:lnTo>
                <a:lnTo>
                  <a:pt x="6884" y="1308"/>
                </a:lnTo>
                <a:lnTo>
                  <a:pt x="6896" y="1300"/>
                </a:lnTo>
                <a:lnTo>
                  <a:pt x="6908" y="1291"/>
                </a:lnTo>
                <a:lnTo>
                  <a:pt x="6920" y="1281"/>
                </a:lnTo>
                <a:lnTo>
                  <a:pt x="6931" y="1270"/>
                </a:lnTo>
                <a:lnTo>
                  <a:pt x="7550" y="651"/>
                </a:lnTo>
                <a:close/>
                <a:moveTo>
                  <a:pt x="7265" y="0"/>
                </a:moveTo>
                <a:lnTo>
                  <a:pt x="6409" y="0"/>
                </a:lnTo>
                <a:lnTo>
                  <a:pt x="4907" y="1501"/>
                </a:lnTo>
                <a:lnTo>
                  <a:pt x="4897" y="1512"/>
                </a:lnTo>
                <a:lnTo>
                  <a:pt x="4887" y="1524"/>
                </a:lnTo>
                <a:lnTo>
                  <a:pt x="4878" y="1537"/>
                </a:lnTo>
                <a:lnTo>
                  <a:pt x="4869" y="1549"/>
                </a:lnTo>
                <a:lnTo>
                  <a:pt x="4861" y="1562"/>
                </a:lnTo>
                <a:lnTo>
                  <a:pt x="4854" y="1575"/>
                </a:lnTo>
                <a:lnTo>
                  <a:pt x="4847" y="1588"/>
                </a:lnTo>
                <a:lnTo>
                  <a:pt x="4842" y="1601"/>
                </a:lnTo>
                <a:lnTo>
                  <a:pt x="4836" y="1615"/>
                </a:lnTo>
                <a:lnTo>
                  <a:pt x="4832" y="1629"/>
                </a:lnTo>
                <a:lnTo>
                  <a:pt x="4828" y="1643"/>
                </a:lnTo>
                <a:lnTo>
                  <a:pt x="4825" y="1657"/>
                </a:lnTo>
                <a:lnTo>
                  <a:pt x="4823" y="1671"/>
                </a:lnTo>
                <a:lnTo>
                  <a:pt x="4821" y="1686"/>
                </a:lnTo>
                <a:lnTo>
                  <a:pt x="4820" y="1701"/>
                </a:lnTo>
                <a:lnTo>
                  <a:pt x="4820" y="1716"/>
                </a:lnTo>
                <a:lnTo>
                  <a:pt x="4820" y="1730"/>
                </a:lnTo>
                <a:lnTo>
                  <a:pt x="4821" y="1745"/>
                </a:lnTo>
                <a:lnTo>
                  <a:pt x="4823" y="1759"/>
                </a:lnTo>
                <a:lnTo>
                  <a:pt x="4825" y="1773"/>
                </a:lnTo>
                <a:lnTo>
                  <a:pt x="4828" y="1787"/>
                </a:lnTo>
                <a:lnTo>
                  <a:pt x="4832" y="1801"/>
                </a:lnTo>
                <a:lnTo>
                  <a:pt x="4836" y="1815"/>
                </a:lnTo>
                <a:lnTo>
                  <a:pt x="4842" y="1829"/>
                </a:lnTo>
                <a:lnTo>
                  <a:pt x="4847" y="1842"/>
                </a:lnTo>
                <a:lnTo>
                  <a:pt x="4854" y="1857"/>
                </a:lnTo>
                <a:lnTo>
                  <a:pt x="4861" y="1870"/>
                </a:lnTo>
                <a:lnTo>
                  <a:pt x="4869" y="1882"/>
                </a:lnTo>
                <a:lnTo>
                  <a:pt x="4878" y="1894"/>
                </a:lnTo>
                <a:lnTo>
                  <a:pt x="4887" y="1906"/>
                </a:lnTo>
                <a:lnTo>
                  <a:pt x="4897" y="1918"/>
                </a:lnTo>
                <a:lnTo>
                  <a:pt x="4907" y="1929"/>
                </a:lnTo>
                <a:lnTo>
                  <a:pt x="4919" y="1940"/>
                </a:lnTo>
                <a:lnTo>
                  <a:pt x="4930" y="1950"/>
                </a:lnTo>
                <a:lnTo>
                  <a:pt x="4942" y="1959"/>
                </a:lnTo>
                <a:lnTo>
                  <a:pt x="4955" y="1968"/>
                </a:lnTo>
                <a:lnTo>
                  <a:pt x="4968" y="1975"/>
                </a:lnTo>
                <a:lnTo>
                  <a:pt x="4981" y="1983"/>
                </a:lnTo>
                <a:lnTo>
                  <a:pt x="4994" y="1989"/>
                </a:lnTo>
                <a:lnTo>
                  <a:pt x="5008" y="1995"/>
                </a:lnTo>
                <a:lnTo>
                  <a:pt x="5021" y="2000"/>
                </a:lnTo>
                <a:lnTo>
                  <a:pt x="5035" y="2004"/>
                </a:lnTo>
                <a:lnTo>
                  <a:pt x="5049" y="2008"/>
                </a:lnTo>
                <a:lnTo>
                  <a:pt x="5063" y="2011"/>
                </a:lnTo>
                <a:lnTo>
                  <a:pt x="5078" y="2014"/>
                </a:lnTo>
                <a:lnTo>
                  <a:pt x="5092" y="2015"/>
                </a:lnTo>
                <a:lnTo>
                  <a:pt x="5107" y="2016"/>
                </a:lnTo>
                <a:lnTo>
                  <a:pt x="5122" y="2018"/>
                </a:lnTo>
                <a:lnTo>
                  <a:pt x="5136" y="2016"/>
                </a:lnTo>
                <a:lnTo>
                  <a:pt x="5151" y="2015"/>
                </a:lnTo>
                <a:lnTo>
                  <a:pt x="5165" y="2014"/>
                </a:lnTo>
                <a:lnTo>
                  <a:pt x="5179" y="2011"/>
                </a:lnTo>
                <a:lnTo>
                  <a:pt x="5193" y="2008"/>
                </a:lnTo>
                <a:lnTo>
                  <a:pt x="5207" y="2004"/>
                </a:lnTo>
                <a:lnTo>
                  <a:pt x="5221" y="2000"/>
                </a:lnTo>
                <a:lnTo>
                  <a:pt x="5235" y="1995"/>
                </a:lnTo>
                <a:lnTo>
                  <a:pt x="5249" y="1989"/>
                </a:lnTo>
                <a:lnTo>
                  <a:pt x="5263" y="1983"/>
                </a:lnTo>
                <a:lnTo>
                  <a:pt x="5276" y="1975"/>
                </a:lnTo>
                <a:lnTo>
                  <a:pt x="5288" y="1968"/>
                </a:lnTo>
                <a:lnTo>
                  <a:pt x="5301" y="1959"/>
                </a:lnTo>
                <a:lnTo>
                  <a:pt x="5313" y="1950"/>
                </a:lnTo>
                <a:lnTo>
                  <a:pt x="5324" y="1940"/>
                </a:lnTo>
                <a:lnTo>
                  <a:pt x="5335" y="1929"/>
                </a:lnTo>
                <a:lnTo>
                  <a:pt x="7265" y="0"/>
                </a:lnTo>
                <a:close/>
                <a:moveTo>
                  <a:pt x="6330" y="0"/>
                </a:moveTo>
                <a:lnTo>
                  <a:pt x="5474" y="0"/>
                </a:lnTo>
                <a:lnTo>
                  <a:pt x="3673" y="1800"/>
                </a:lnTo>
                <a:lnTo>
                  <a:pt x="3663" y="1811"/>
                </a:lnTo>
                <a:lnTo>
                  <a:pt x="3653" y="1822"/>
                </a:lnTo>
                <a:lnTo>
                  <a:pt x="3644" y="1834"/>
                </a:lnTo>
                <a:lnTo>
                  <a:pt x="3635" y="1847"/>
                </a:lnTo>
                <a:lnTo>
                  <a:pt x="3626" y="1860"/>
                </a:lnTo>
                <a:lnTo>
                  <a:pt x="3619" y="1873"/>
                </a:lnTo>
                <a:lnTo>
                  <a:pt x="3613" y="1886"/>
                </a:lnTo>
                <a:lnTo>
                  <a:pt x="3607" y="1900"/>
                </a:lnTo>
                <a:lnTo>
                  <a:pt x="3602" y="1914"/>
                </a:lnTo>
                <a:lnTo>
                  <a:pt x="3597" y="1927"/>
                </a:lnTo>
                <a:lnTo>
                  <a:pt x="3593" y="1941"/>
                </a:lnTo>
                <a:lnTo>
                  <a:pt x="3590" y="1956"/>
                </a:lnTo>
                <a:lnTo>
                  <a:pt x="3588" y="1970"/>
                </a:lnTo>
                <a:lnTo>
                  <a:pt x="3586" y="1984"/>
                </a:lnTo>
                <a:lnTo>
                  <a:pt x="3585" y="1999"/>
                </a:lnTo>
                <a:lnTo>
                  <a:pt x="3585" y="2013"/>
                </a:lnTo>
                <a:lnTo>
                  <a:pt x="3585" y="2029"/>
                </a:lnTo>
                <a:lnTo>
                  <a:pt x="3586" y="2043"/>
                </a:lnTo>
                <a:lnTo>
                  <a:pt x="3588" y="2057"/>
                </a:lnTo>
                <a:lnTo>
                  <a:pt x="3590" y="2072"/>
                </a:lnTo>
                <a:lnTo>
                  <a:pt x="3593" y="2086"/>
                </a:lnTo>
                <a:lnTo>
                  <a:pt x="3597" y="2100"/>
                </a:lnTo>
                <a:lnTo>
                  <a:pt x="3602" y="2114"/>
                </a:lnTo>
                <a:lnTo>
                  <a:pt x="3607" y="2127"/>
                </a:lnTo>
                <a:lnTo>
                  <a:pt x="3613" y="2141"/>
                </a:lnTo>
                <a:lnTo>
                  <a:pt x="3619" y="2154"/>
                </a:lnTo>
                <a:lnTo>
                  <a:pt x="3626" y="2167"/>
                </a:lnTo>
                <a:lnTo>
                  <a:pt x="3635" y="2181"/>
                </a:lnTo>
                <a:lnTo>
                  <a:pt x="3644" y="2193"/>
                </a:lnTo>
                <a:lnTo>
                  <a:pt x="3653" y="2205"/>
                </a:lnTo>
                <a:lnTo>
                  <a:pt x="3663" y="2216"/>
                </a:lnTo>
                <a:lnTo>
                  <a:pt x="3673" y="2228"/>
                </a:lnTo>
                <a:lnTo>
                  <a:pt x="3685" y="2238"/>
                </a:lnTo>
                <a:lnTo>
                  <a:pt x="3696" y="2248"/>
                </a:lnTo>
                <a:lnTo>
                  <a:pt x="3708" y="2257"/>
                </a:lnTo>
                <a:lnTo>
                  <a:pt x="3720" y="2266"/>
                </a:lnTo>
                <a:lnTo>
                  <a:pt x="3733" y="2274"/>
                </a:lnTo>
                <a:lnTo>
                  <a:pt x="3746" y="2281"/>
                </a:lnTo>
                <a:lnTo>
                  <a:pt x="3759" y="2287"/>
                </a:lnTo>
                <a:lnTo>
                  <a:pt x="3773" y="2293"/>
                </a:lnTo>
                <a:lnTo>
                  <a:pt x="3787" y="2298"/>
                </a:lnTo>
                <a:lnTo>
                  <a:pt x="3801" y="2303"/>
                </a:lnTo>
                <a:lnTo>
                  <a:pt x="3815" y="2307"/>
                </a:lnTo>
                <a:lnTo>
                  <a:pt x="3829" y="2310"/>
                </a:lnTo>
                <a:lnTo>
                  <a:pt x="3844" y="2312"/>
                </a:lnTo>
                <a:lnTo>
                  <a:pt x="3858" y="2314"/>
                </a:lnTo>
                <a:lnTo>
                  <a:pt x="3872" y="2315"/>
                </a:lnTo>
                <a:lnTo>
                  <a:pt x="3887" y="2315"/>
                </a:lnTo>
                <a:lnTo>
                  <a:pt x="3901" y="2315"/>
                </a:lnTo>
                <a:lnTo>
                  <a:pt x="3916" y="2314"/>
                </a:lnTo>
                <a:lnTo>
                  <a:pt x="3931" y="2312"/>
                </a:lnTo>
                <a:lnTo>
                  <a:pt x="3945" y="2310"/>
                </a:lnTo>
                <a:lnTo>
                  <a:pt x="3960" y="2307"/>
                </a:lnTo>
                <a:lnTo>
                  <a:pt x="3974" y="2303"/>
                </a:lnTo>
                <a:lnTo>
                  <a:pt x="3987" y="2298"/>
                </a:lnTo>
                <a:lnTo>
                  <a:pt x="4001" y="2293"/>
                </a:lnTo>
                <a:lnTo>
                  <a:pt x="4015" y="2287"/>
                </a:lnTo>
                <a:lnTo>
                  <a:pt x="4028" y="2281"/>
                </a:lnTo>
                <a:lnTo>
                  <a:pt x="4041" y="2274"/>
                </a:lnTo>
                <a:lnTo>
                  <a:pt x="4053" y="2266"/>
                </a:lnTo>
                <a:lnTo>
                  <a:pt x="4066" y="2257"/>
                </a:lnTo>
                <a:lnTo>
                  <a:pt x="4079" y="2248"/>
                </a:lnTo>
                <a:lnTo>
                  <a:pt x="4090" y="2238"/>
                </a:lnTo>
                <a:lnTo>
                  <a:pt x="4101" y="2228"/>
                </a:lnTo>
                <a:lnTo>
                  <a:pt x="6330" y="0"/>
                </a:lnTo>
                <a:close/>
                <a:moveTo>
                  <a:pt x="5394" y="0"/>
                </a:moveTo>
                <a:lnTo>
                  <a:pt x="4538" y="0"/>
                </a:lnTo>
                <a:lnTo>
                  <a:pt x="3460" y="1077"/>
                </a:lnTo>
                <a:lnTo>
                  <a:pt x="3450" y="1088"/>
                </a:lnTo>
                <a:lnTo>
                  <a:pt x="3440" y="1100"/>
                </a:lnTo>
                <a:lnTo>
                  <a:pt x="3431" y="1112"/>
                </a:lnTo>
                <a:lnTo>
                  <a:pt x="3422" y="1124"/>
                </a:lnTo>
                <a:lnTo>
                  <a:pt x="3414" y="1137"/>
                </a:lnTo>
                <a:lnTo>
                  <a:pt x="3407" y="1150"/>
                </a:lnTo>
                <a:lnTo>
                  <a:pt x="3400" y="1163"/>
                </a:lnTo>
                <a:lnTo>
                  <a:pt x="3395" y="1176"/>
                </a:lnTo>
                <a:lnTo>
                  <a:pt x="3390" y="1190"/>
                </a:lnTo>
                <a:lnTo>
                  <a:pt x="3385" y="1205"/>
                </a:lnTo>
                <a:lnTo>
                  <a:pt x="3381" y="1219"/>
                </a:lnTo>
                <a:lnTo>
                  <a:pt x="3378" y="1233"/>
                </a:lnTo>
                <a:lnTo>
                  <a:pt x="3376" y="1247"/>
                </a:lnTo>
                <a:lnTo>
                  <a:pt x="3374" y="1262"/>
                </a:lnTo>
                <a:lnTo>
                  <a:pt x="3373" y="1276"/>
                </a:lnTo>
                <a:lnTo>
                  <a:pt x="3373" y="1291"/>
                </a:lnTo>
                <a:lnTo>
                  <a:pt x="3373" y="1305"/>
                </a:lnTo>
                <a:lnTo>
                  <a:pt x="3374" y="1319"/>
                </a:lnTo>
                <a:lnTo>
                  <a:pt x="3376" y="1334"/>
                </a:lnTo>
                <a:lnTo>
                  <a:pt x="3378" y="1348"/>
                </a:lnTo>
                <a:lnTo>
                  <a:pt x="3381" y="1362"/>
                </a:lnTo>
                <a:lnTo>
                  <a:pt x="3385" y="1377"/>
                </a:lnTo>
                <a:lnTo>
                  <a:pt x="3390" y="1391"/>
                </a:lnTo>
                <a:lnTo>
                  <a:pt x="3395" y="1405"/>
                </a:lnTo>
                <a:lnTo>
                  <a:pt x="3400" y="1418"/>
                </a:lnTo>
                <a:lnTo>
                  <a:pt x="3407" y="1431"/>
                </a:lnTo>
                <a:lnTo>
                  <a:pt x="3414" y="1444"/>
                </a:lnTo>
                <a:lnTo>
                  <a:pt x="3422" y="1457"/>
                </a:lnTo>
                <a:lnTo>
                  <a:pt x="3431" y="1469"/>
                </a:lnTo>
                <a:lnTo>
                  <a:pt x="3440" y="1481"/>
                </a:lnTo>
                <a:lnTo>
                  <a:pt x="3450" y="1493"/>
                </a:lnTo>
                <a:lnTo>
                  <a:pt x="3460" y="1504"/>
                </a:lnTo>
                <a:lnTo>
                  <a:pt x="3472" y="1515"/>
                </a:lnTo>
                <a:lnTo>
                  <a:pt x="3483" y="1525"/>
                </a:lnTo>
                <a:lnTo>
                  <a:pt x="3496" y="1535"/>
                </a:lnTo>
                <a:lnTo>
                  <a:pt x="3508" y="1543"/>
                </a:lnTo>
                <a:lnTo>
                  <a:pt x="3521" y="1551"/>
                </a:lnTo>
                <a:lnTo>
                  <a:pt x="3534" y="1558"/>
                </a:lnTo>
                <a:lnTo>
                  <a:pt x="3547" y="1565"/>
                </a:lnTo>
                <a:lnTo>
                  <a:pt x="3561" y="1571"/>
                </a:lnTo>
                <a:lnTo>
                  <a:pt x="3574" y="1576"/>
                </a:lnTo>
                <a:lnTo>
                  <a:pt x="3588" y="1580"/>
                </a:lnTo>
                <a:lnTo>
                  <a:pt x="3602" y="1584"/>
                </a:lnTo>
                <a:lnTo>
                  <a:pt x="3616" y="1587"/>
                </a:lnTo>
                <a:lnTo>
                  <a:pt x="3632" y="1590"/>
                </a:lnTo>
                <a:lnTo>
                  <a:pt x="3646" y="1591"/>
                </a:lnTo>
                <a:lnTo>
                  <a:pt x="3660" y="1592"/>
                </a:lnTo>
                <a:lnTo>
                  <a:pt x="3675" y="1593"/>
                </a:lnTo>
                <a:lnTo>
                  <a:pt x="3689" y="1592"/>
                </a:lnTo>
                <a:lnTo>
                  <a:pt x="3704" y="1591"/>
                </a:lnTo>
                <a:lnTo>
                  <a:pt x="3718" y="1590"/>
                </a:lnTo>
                <a:lnTo>
                  <a:pt x="3732" y="1587"/>
                </a:lnTo>
                <a:lnTo>
                  <a:pt x="3747" y="1584"/>
                </a:lnTo>
                <a:lnTo>
                  <a:pt x="3761" y="1580"/>
                </a:lnTo>
                <a:lnTo>
                  <a:pt x="3774" y="1576"/>
                </a:lnTo>
                <a:lnTo>
                  <a:pt x="3789" y="1571"/>
                </a:lnTo>
                <a:lnTo>
                  <a:pt x="3803" y="1565"/>
                </a:lnTo>
                <a:lnTo>
                  <a:pt x="3816" y="1558"/>
                </a:lnTo>
                <a:lnTo>
                  <a:pt x="3829" y="1551"/>
                </a:lnTo>
                <a:lnTo>
                  <a:pt x="3841" y="1543"/>
                </a:lnTo>
                <a:lnTo>
                  <a:pt x="3854" y="1535"/>
                </a:lnTo>
                <a:lnTo>
                  <a:pt x="3866" y="1525"/>
                </a:lnTo>
                <a:lnTo>
                  <a:pt x="3877" y="1515"/>
                </a:lnTo>
                <a:lnTo>
                  <a:pt x="3888" y="1504"/>
                </a:lnTo>
                <a:lnTo>
                  <a:pt x="5394" y="0"/>
                </a:lnTo>
                <a:close/>
                <a:moveTo>
                  <a:pt x="4457" y="0"/>
                </a:moveTo>
                <a:lnTo>
                  <a:pt x="3602" y="0"/>
                </a:lnTo>
                <a:lnTo>
                  <a:pt x="2205" y="1397"/>
                </a:lnTo>
                <a:lnTo>
                  <a:pt x="2194" y="1408"/>
                </a:lnTo>
                <a:lnTo>
                  <a:pt x="2184" y="1420"/>
                </a:lnTo>
                <a:lnTo>
                  <a:pt x="2175" y="1432"/>
                </a:lnTo>
                <a:lnTo>
                  <a:pt x="2165" y="1444"/>
                </a:lnTo>
                <a:lnTo>
                  <a:pt x="2157" y="1457"/>
                </a:lnTo>
                <a:lnTo>
                  <a:pt x="2150" y="1470"/>
                </a:lnTo>
                <a:lnTo>
                  <a:pt x="2144" y="1483"/>
                </a:lnTo>
                <a:lnTo>
                  <a:pt x="2138" y="1497"/>
                </a:lnTo>
                <a:lnTo>
                  <a:pt x="2133" y="1510"/>
                </a:lnTo>
                <a:lnTo>
                  <a:pt x="2128" y="1524"/>
                </a:lnTo>
                <a:lnTo>
                  <a:pt x="2125" y="1539"/>
                </a:lnTo>
                <a:lnTo>
                  <a:pt x="2122" y="1553"/>
                </a:lnTo>
                <a:lnTo>
                  <a:pt x="2119" y="1568"/>
                </a:lnTo>
                <a:lnTo>
                  <a:pt x="2117" y="1582"/>
                </a:lnTo>
                <a:lnTo>
                  <a:pt x="2116" y="1596"/>
                </a:lnTo>
                <a:lnTo>
                  <a:pt x="2116" y="1611"/>
                </a:lnTo>
                <a:lnTo>
                  <a:pt x="2116" y="1625"/>
                </a:lnTo>
                <a:lnTo>
                  <a:pt x="2117" y="1640"/>
                </a:lnTo>
                <a:lnTo>
                  <a:pt x="2119" y="1654"/>
                </a:lnTo>
                <a:lnTo>
                  <a:pt x="2122" y="1668"/>
                </a:lnTo>
                <a:lnTo>
                  <a:pt x="2125" y="1682"/>
                </a:lnTo>
                <a:lnTo>
                  <a:pt x="2128" y="1697"/>
                </a:lnTo>
                <a:lnTo>
                  <a:pt x="2133" y="1711"/>
                </a:lnTo>
                <a:lnTo>
                  <a:pt x="2138" y="1725"/>
                </a:lnTo>
                <a:lnTo>
                  <a:pt x="2144" y="1738"/>
                </a:lnTo>
                <a:lnTo>
                  <a:pt x="2150" y="1752"/>
                </a:lnTo>
                <a:lnTo>
                  <a:pt x="2157" y="1765"/>
                </a:lnTo>
                <a:lnTo>
                  <a:pt x="2165" y="1777"/>
                </a:lnTo>
                <a:lnTo>
                  <a:pt x="2175" y="1789"/>
                </a:lnTo>
                <a:lnTo>
                  <a:pt x="2184" y="1801"/>
                </a:lnTo>
                <a:lnTo>
                  <a:pt x="2194" y="1813"/>
                </a:lnTo>
                <a:lnTo>
                  <a:pt x="2205" y="1824"/>
                </a:lnTo>
                <a:lnTo>
                  <a:pt x="2216" y="1835"/>
                </a:lnTo>
                <a:lnTo>
                  <a:pt x="2227" y="1845"/>
                </a:lnTo>
                <a:lnTo>
                  <a:pt x="2239" y="1855"/>
                </a:lnTo>
                <a:lnTo>
                  <a:pt x="2252" y="1864"/>
                </a:lnTo>
                <a:lnTo>
                  <a:pt x="2264" y="1871"/>
                </a:lnTo>
                <a:lnTo>
                  <a:pt x="2277" y="1879"/>
                </a:lnTo>
                <a:lnTo>
                  <a:pt x="2291" y="1885"/>
                </a:lnTo>
                <a:lnTo>
                  <a:pt x="2304" y="1891"/>
                </a:lnTo>
                <a:lnTo>
                  <a:pt x="2319" y="1896"/>
                </a:lnTo>
                <a:lnTo>
                  <a:pt x="2333" y="1901"/>
                </a:lnTo>
                <a:lnTo>
                  <a:pt x="2347" y="1904"/>
                </a:lnTo>
                <a:lnTo>
                  <a:pt x="2361" y="1907"/>
                </a:lnTo>
                <a:lnTo>
                  <a:pt x="2375" y="1910"/>
                </a:lnTo>
                <a:lnTo>
                  <a:pt x="2389" y="1911"/>
                </a:lnTo>
                <a:lnTo>
                  <a:pt x="2404" y="1913"/>
                </a:lnTo>
                <a:lnTo>
                  <a:pt x="2418" y="1913"/>
                </a:lnTo>
                <a:lnTo>
                  <a:pt x="2433" y="1913"/>
                </a:lnTo>
                <a:lnTo>
                  <a:pt x="2447" y="1911"/>
                </a:lnTo>
                <a:lnTo>
                  <a:pt x="2462" y="1910"/>
                </a:lnTo>
                <a:lnTo>
                  <a:pt x="2477" y="1907"/>
                </a:lnTo>
                <a:lnTo>
                  <a:pt x="2491" y="1904"/>
                </a:lnTo>
                <a:lnTo>
                  <a:pt x="2505" y="1901"/>
                </a:lnTo>
                <a:lnTo>
                  <a:pt x="2519" y="1896"/>
                </a:lnTo>
                <a:lnTo>
                  <a:pt x="2532" y="1891"/>
                </a:lnTo>
                <a:lnTo>
                  <a:pt x="2546" y="1885"/>
                </a:lnTo>
                <a:lnTo>
                  <a:pt x="2559" y="1879"/>
                </a:lnTo>
                <a:lnTo>
                  <a:pt x="2572" y="1871"/>
                </a:lnTo>
                <a:lnTo>
                  <a:pt x="2585" y="1864"/>
                </a:lnTo>
                <a:lnTo>
                  <a:pt x="2597" y="1855"/>
                </a:lnTo>
                <a:lnTo>
                  <a:pt x="2610" y="1845"/>
                </a:lnTo>
                <a:lnTo>
                  <a:pt x="2621" y="1835"/>
                </a:lnTo>
                <a:lnTo>
                  <a:pt x="2633" y="1824"/>
                </a:lnTo>
                <a:lnTo>
                  <a:pt x="4457" y="0"/>
                </a:lnTo>
                <a:close/>
                <a:moveTo>
                  <a:pt x="3522" y="0"/>
                </a:moveTo>
                <a:lnTo>
                  <a:pt x="2666" y="0"/>
                </a:lnTo>
                <a:lnTo>
                  <a:pt x="1071" y="1594"/>
                </a:lnTo>
                <a:lnTo>
                  <a:pt x="1061" y="1605"/>
                </a:lnTo>
                <a:lnTo>
                  <a:pt x="1051" y="1617"/>
                </a:lnTo>
                <a:lnTo>
                  <a:pt x="1042" y="1629"/>
                </a:lnTo>
                <a:lnTo>
                  <a:pt x="1033" y="1641"/>
                </a:lnTo>
                <a:lnTo>
                  <a:pt x="1025" y="1654"/>
                </a:lnTo>
                <a:lnTo>
                  <a:pt x="1018" y="1667"/>
                </a:lnTo>
                <a:lnTo>
                  <a:pt x="1012" y="1680"/>
                </a:lnTo>
                <a:lnTo>
                  <a:pt x="1006" y="1694"/>
                </a:lnTo>
                <a:lnTo>
                  <a:pt x="1001" y="1708"/>
                </a:lnTo>
                <a:lnTo>
                  <a:pt x="996" y="1722"/>
                </a:lnTo>
                <a:lnTo>
                  <a:pt x="991" y="1736"/>
                </a:lnTo>
                <a:lnTo>
                  <a:pt x="988" y="1750"/>
                </a:lnTo>
                <a:lnTo>
                  <a:pt x="986" y="1764"/>
                </a:lnTo>
                <a:lnTo>
                  <a:pt x="984" y="1779"/>
                </a:lnTo>
                <a:lnTo>
                  <a:pt x="983" y="1793"/>
                </a:lnTo>
                <a:lnTo>
                  <a:pt x="983" y="1807"/>
                </a:lnTo>
                <a:lnTo>
                  <a:pt x="983" y="1822"/>
                </a:lnTo>
                <a:lnTo>
                  <a:pt x="984" y="1836"/>
                </a:lnTo>
                <a:lnTo>
                  <a:pt x="986" y="1851"/>
                </a:lnTo>
                <a:lnTo>
                  <a:pt x="988" y="1866"/>
                </a:lnTo>
                <a:lnTo>
                  <a:pt x="991" y="1880"/>
                </a:lnTo>
                <a:lnTo>
                  <a:pt x="996" y="1894"/>
                </a:lnTo>
                <a:lnTo>
                  <a:pt x="1001" y="1908"/>
                </a:lnTo>
                <a:lnTo>
                  <a:pt x="1006" y="1922"/>
                </a:lnTo>
                <a:lnTo>
                  <a:pt x="1012" y="1935"/>
                </a:lnTo>
                <a:lnTo>
                  <a:pt x="1018" y="1948"/>
                </a:lnTo>
                <a:lnTo>
                  <a:pt x="1025" y="1961"/>
                </a:lnTo>
                <a:lnTo>
                  <a:pt x="1033" y="1974"/>
                </a:lnTo>
                <a:lnTo>
                  <a:pt x="1042" y="1986"/>
                </a:lnTo>
                <a:lnTo>
                  <a:pt x="1051" y="1998"/>
                </a:lnTo>
                <a:lnTo>
                  <a:pt x="1061" y="2010"/>
                </a:lnTo>
                <a:lnTo>
                  <a:pt x="1071" y="2022"/>
                </a:lnTo>
                <a:lnTo>
                  <a:pt x="1083" y="2033"/>
                </a:lnTo>
                <a:lnTo>
                  <a:pt x="1094" y="2043"/>
                </a:lnTo>
                <a:lnTo>
                  <a:pt x="1106" y="2052"/>
                </a:lnTo>
                <a:lnTo>
                  <a:pt x="1118" y="2060"/>
                </a:lnTo>
                <a:lnTo>
                  <a:pt x="1131" y="2068"/>
                </a:lnTo>
                <a:lnTo>
                  <a:pt x="1145" y="2075"/>
                </a:lnTo>
                <a:lnTo>
                  <a:pt x="1158" y="2082"/>
                </a:lnTo>
                <a:lnTo>
                  <a:pt x="1172" y="2088"/>
                </a:lnTo>
                <a:lnTo>
                  <a:pt x="1185" y="2093"/>
                </a:lnTo>
                <a:lnTo>
                  <a:pt x="1199" y="2097"/>
                </a:lnTo>
                <a:lnTo>
                  <a:pt x="1213" y="2101"/>
                </a:lnTo>
                <a:lnTo>
                  <a:pt x="1227" y="2104"/>
                </a:lnTo>
                <a:lnTo>
                  <a:pt x="1242" y="2107"/>
                </a:lnTo>
                <a:lnTo>
                  <a:pt x="1256" y="2108"/>
                </a:lnTo>
                <a:lnTo>
                  <a:pt x="1270" y="2109"/>
                </a:lnTo>
                <a:lnTo>
                  <a:pt x="1285" y="2110"/>
                </a:lnTo>
                <a:lnTo>
                  <a:pt x="1300" y="2109"/>
                </a:lnTo>
                <a:lnTo>
                  <a:pt x="1315" y="2108"/>
                </a:lnTo>
                <a:lnTo>
                  <a:pt x="1329" y="2107"/>
                </a:lnTo>
                <a:lnTo>
                  <a:pt x="1343" y="2104"/>
                </a:lnTo>
                <a:lnTo>
                  <a:pt x="1358" y="2101"/>
                </a:lnTo>
                <a:lnTo>
                  <a:pt x="1372" y="2097"/>
                </a:lnTo>
                <a:lnTo>
                  <a:pt x="1385" y="2093"/>
                </a:lnTo>
                <a:lnTo>
                  <a:pt x="1399" y="2088"/>
                </a:lnTo>
                <a:lnTo>
                  <a:pt x="1413" y="2082"/>
                </a:lnTo>
                <a:lnTo>
                  <a:pt x="1426" y="2075"/>
                </a:lnTo>
                <a:lnTo>
                  <a:pt x="1440" y="2068"/>
                </a:lnTo>
                <a:lnTo>
                  <a:pt x="1452" y="2060"/>
                </a:lnTo>
                <a:lnTo>
                  <a:pt x="1465" y="2052"/>
                </a:lnTo>
                <a:lnTo>
                  <a:pt x="1477" y="2043"/>
                </a:lnTo>
                <a:lnTo>
                  <a:pt x="1488" y="2033"/>
                </a:lnTo>
                <a:lnTo>
                  <a:pt x="1499" y="2022"/>
                </a:lnTo>
                <a:lnTo>
                  <a:pt x="3522" y="0"/>
                </a:lnTo>
                <a:close/>
                <a:moveTo>
                  <a:pt x="2585" y="0"/>
                </a:moveTo>
                <a:lnTo>
                  <a:pt x="1731" y="0"/>
                </a:lnTo>
                <a:lnTo>
                  <a:pt x="88" y="1641"/>
                </a:lnTo>
                <a:lnTo>
                  <a:pt x="77" y="1652"/>
                </a:lnTo>
                <a:lnTo>
                  <a:pt x="67" y="1664"/>
                </a:lnTo>
                <a:lnTo>
                  <a:pt x="58" y="1676"/>
                </a:lnTo>
                <a:lnTo>
                  <a:pt x="50" y="1688"/>
                </a:lnTo>
                <a:lnTo>
                  <a:pt x="42" y="1702"/>
                </a:lnTo>
                <a:lnTo>
                  <a:pt x="34" y="1715"/>
                </a:lnTo>
                <a:lnTo>
                  <a:pt x="28" y="1728"/>
                </a:lnTo>
                <a:lnTo>
                  <a:pt x="22" y="1741"/>
                </a:lnTo>
                <a:lnTo>
                  <a:pt x="17" y="1755"/>
                </a:lnTo>
                <a:lnTo>
                  <a:pt x="13" y="1769"/>
                </a:lnTo>
                <a:lnTo>
                  <a:pt x="9" y="1783"/>
                </a:lnTo>
                <a:lnTo>
                  <a:pt x="6" y="1797"/>
                </a:lnTo>
                <a:lnTo>
                  <a:pt x="3" y="1811"/>
                </a:lnTo>
                <a:lnTo>
                  <a:pt x="2" y="1826"/>
                </a:lnTo>
                <a:lnTo>
                  <a:pt x="1" y="1840"/>
                </a:lnTo>
                <a:lnTo>
                  <a:pt x="0" y="1856"/>
                </a:lnTo>
                <a:lnTo>
                  <a:pt x="1" y="1870"/>
                </a:lnTo>
                <a:lnTo>
                  <a:pt x="2" y="1884"/>
                </a:lnTo>
                <a:lnTo>
                  <a:pt x="3" y="1899"/>
                </a:lnTo>
                <a:lnTo>
                  <a:pt x="6" y="1913"/>
                </a:lnTo>
                <a:lnTo>
                  <a:pt x="9" y="1927"/>
                </a:lnTo>
                <a:lnTo>
                  <a:pt x="13" y="1941"/>
                </a:lnTo>
                <a:lnTo>
                  <a:pt x="17" y="1955"/>
                </a:lnTo>
                <a:lnTo>
                  <a:pt x="22" y="1969"/>
                </a:lnTo>
                <a:lnTo>
                  <a:pt x="28" y="1982"/>
                </a:lnTo>
                <a:lnTo>
                  <a:pt x="34" y="1995"/>
                </a:lnTo>
                <a:lnTo>
                  <a:pt x="42" y="2008"/>
                </a:lnTo>
                <a:lnTo>
                  <a:pt x="50" y="2022"/>
                </a:lnTo>
                <a:lnTo>
                  <a:pt x="58" y="2034"/>
                </a:lnTo>
                <a:lnTo>
                  <a:pt x="67" y="2046"/>
                </a:lnTo>
                <a:lnTo>
                  <a:pt x="77" y="2058"/>
                </a:lnTo>
                <a:lnTo>
                  <a:pt x="88" y="2069"/>
                </a:lnTo>
                <a:lnTo>
                  <a:pt x="99" y="2080"/>
                </a:lnTo>
                <a:lnTo>
                  <a:pt x="111" y="2090"/>
                </a:lnTo>
                <a:lnTo>
                  <a:pt x="124" y="2099"/>
                </a:lnTo>
                <a:lnTo>
                  <a:pt x="136" y="2107"/>
                </a:lnTo>
                <a:lnTo>
                  <a:pt x="149" y="2115"/>
                </a:lnTo>
                <a:lnTo>
                  <a:pt x="161" y="2122"/>
                </a:lnTo>
                <a:lnTo>
                  <a:pt x="175" y="2129"/>
                </a:lnTo>
                <a:lnTo>
                  <a:pt x="188" y="2135"/>
                </a:lnTo>
                <a:lnTo>
                  <a:pt x="202" y="2140"/>
                </a:lnTo>
                <a:lnTo>
                  <a:pt x="216" y="2144"/>
                </a:lnTo>
                <a:lnTo>
                  <a:pt x="230" y="2148"/>
                </a:lnTo>
                <a:lnTo>
                  <a:pt x="244" y="2151"/>
                </a:lnTo>
                <a:lnTo>
                  <a:pt x="258" y="2154"/>
                </a:lnTo>
                <a:lnTo>
                  <a:pt x="274" y="2155"/>
                </a:lnTo>
                <a:lnTo>
                  <a:pt x="288" y="2156"/>
                </a:lnTo>
                <a:lnTo>
                  <a:pt x="302" y="2157"/>
                </a:lnTo>
                <a:lnTo>
                  <a:pt x="317" y="2156"/>
                </a:lnTo>
                <a:lnTo>
                  <a:pt x="331" y="2155"/>
                </a:lnTo>
                <a:lnTo>
                  <a:pt x="346" y="2154"/>
                </a:lnTo>
                <a:lnTo>
                  <a:pt x="360" y="2151"/>
                </a:lnTo>
                <a:lnTo>
                  <a:pt x="374" y="2148"/>
                </a:lnTo>
                <a:lnTo>
                  <a:pt x="388" y="2144"/>
                </a:lnTo>
                <a:lnTo>
                  <a:pt x="402" y="2140"/>
                </a:lnTo>
                <a:lnTo>
                  <a:pt x="417" y="2135"/>
                </a:lnTo>
                <a:lnTo>
                  <a:pt x="430" y="2129"/>
                </a:lnTo>
                <a:lnTo>
                  <a:pt x="443" y="2122"/>
                </a:lnTo>
                <a:lnTo>
                  <a:pt x="456" y="2115"/>
                </a:lnTo>
                <a:lnTo>
                  <a:pt x="469" y="2107"/>
                </a:lnTo>
                <a:lnTo>
                  <a:pt x="481" y="2099"/>
                </a:lnTo>
                <a:lnTo>
                  <a:pt x="493" y="2090"/>
                </a:lnTo>
                <a:lnTo>
                  <a:pt x="505" y="2080"/>
                </a:lnTo>
                <a:lnTo>
                  <a:pt x="516" y="2069"/>
                </a:lnTo>
                <a:lnTo>
                  <a:pt x="2585" y="0"/>
                </a:lnTo>
                <a:close/>
                <a:moveTo>
                  <a:pt x="1650" y="0"/>
                </a:moveTo>
                <a:lnTo>
                  <a:pt x="794" y="0"/>
                </a:lnTo>
                <a:lnTo>
                  <a:pt x="154" y="640"/>
                </a:lnTo>
                <a:lnTo>
                  <a:pt x="144" y="651"/>
                </a:lnTo>
                <a:lnTo>
                  <a:pt x="134" y="663"/>
                </a:lnTo>
                <a:lnTo>
                  <a:pt x="125" y="675"/>
                </a:lnTo>
                <a:lnTo>
                  <a:pt x="115" y="687"/>
                </a:lnTo>
                <a:lnTo>
                  <a:pt x="107" y="700"/>
                </a:lnTo>
                <a:lnTo>
                  <a:pt x="100" y="712"/>
                </a:lnTo>
                <a:lnTo>
                  <a:pt x="94" y="727"/>
                </a:lnTo>
                <a:lnTo>
                  <a:pt x="88" y="740"/>
                </a:lnTo>
                <a:lnTo>
                  <a:pt x="83" y="754"/>
                </a:lnTo>
                <a:lnTo>
                  <a:pt x="78" y="768"/>
                </a:lnTo>
                <a:lnTo>
                  <a:pt x="74" y="782"/>
                </a:lnTo>
                <a:lnTo>
                  <a:pt x="71" y="796"/>
                </a:lnTo>
                <a:lnTo>
                  <a:pt x="69" y="810"/>
                </a:lnTo>
                <a:lnTo>
                  <a:pt x="67" y="825"/>
                </a:lnTo>
                <a:lnTo>
                  <a:pt x="66" y="839"/>
                </a:lnTo>
                <a:lnTo>
                  <a:pt x="66" y="853"/>
                </a:lnTo>
                <a:lnTo>
                  <a:pt x="66" y="868"/>
                </a:lnTo>
                <a:lnTo>
                  <a:pt x="67" y="883"/>
                </a:lnTo>
                <a:lnTo>
                  <a:pt x="69" y="898"/>
                </a:lnTo>
                <a:lnTo>
                  <a:pt x="71" y="912"/>
                </a:lnTo>
                <a:lnTo>
                  <a:pt x="74" y="926"/>
                </a:lnTo>
                <a:lnTo>
                  <a:pt x="78" y="940"/>
                </a:lnTo>
                <a:lnTo>
                  <a:pt x="83" y="954"/>
                </a:lnTo>
                <a:lnTo>
                  <a:pt x="88" y="968"/>
                </a:lnTo>
                <a:lnTo>
                  <a:pt x="94" y="981"/>
                </a:lnTo>
                <a:lnTo>
                  <a:pt x="100" y="994"/>
                </a:lnTo>
                <a:lnTo>
                  <a:pt x="107" y="1007"/>
                </a:lnTo>
                <a:lnTo>
                  <a:pt x="115" y="1020"/>
                </a:lnTo>
                <a:lnTo>
                  <a:pt x="125" y="1032"/>
                </a:lnTo>
                <a:lnTo>
                  <a:pt x="134" y="1045"/>
                </a:lnTo>
                <a:lnTo>
                  <a:pt x="144" y="1057"/>
                </a:lnTo>
                <a:lnTo>
                  <a:pt x="154" y="1068"/>
                </a:lnTo>
                <a:lnTo>
                  <a:pt x="166" y="1078"/>
                </a:lnTo>
                <a:lnTo>
                  <a:pt x="177" y="1088"/>
                </a:lnTo>
                <a:lnTo>
                  <a:pt x="189" y="1098"/>
                </a:lnTo>
                <a:lnTo>
                  <a:pt x="202" y="1106"/>
                </a:lnTo>
                <a:lnTo>
                  <a:pt x="214" y="1114"/>
                </a:lnTo>
                <a:lnTo>
                  <a:pt x="227" y="1121"/>
                </a:lnTo>
                <a:lnTo>
                  <a:pt x="240" y="1128"/>
                </a:lnTo>
                <a:lnTo>
                  <a:pt x="254" y="1134"/>
                </a:lnTo>
                <a:lnTo>
                  <a:pt x="268" y="1139"/>
                </a:lnTo>
                <a:lnTo>
                  <a:pt x="282" y="1143"/>
                </a:lnTo>
                <a:lnTo>
                  <a:pt x="296" y="1147"/>
                </a:lnTo>
                <a:lnTo>
                  <a:pt x="310" y="1150"/>
                </a:lnTo>
                <a:lnTo>
                  <a:pt x="325" y="1152"/>
                </a:lnTo>
                <a:lnTo>
                  <a:pt x="339" y="1154"/>
                </a:lnTo>
                <a:lnTo>
                  <a:pt x="354" y="1155"/>
                </a:lnTo>
                <a:lnTo>
                  <a:pt x="368" y="1155"/>
                </a:lnTo>
                <a:lnTo>
                  <a:pt x="382" y="1155"/>
                </a:lnTo>
                <a:lnTo>
                  <a:pt x="397" y="1154"/>
                </a:lnTo>
                <a:lnTo>
                  <a:pt x="412" y="1152"/>
                </a:lnTo>
                <a:lnTo>
                  <a:pt x="426" y="1150"/>
                </a:lnTo>
                <a:lnTo>
                  <a:pt x="441" y="1147"/>
                </a:lnTo>
                <a:lnTo>
                  <a:pt x="455" y="1143"/>
                </a:lnTo>
                <a:lnTo>
                  <a:pt x="468" y="1139"/>
                </a:lnTo>
                <a:lnTo>
                  <a:pt x="482" y="1134"/>
                </a:lnTo>
                <a:lnTo>
                  <a:pt x="496" y="1128"/>
                </a:lnTo>
                <a:lnTo>
                  <a:pt x="509" y="1121"/>
                </a:lnTo>
                <a:lnTo>
                  <a:pt x="522" y="1114"/>
                </a:lnTo>
                <a:lnTo>
                  <a:pt x="534" y="1106"/>
                </a:lnTo>
                <a:lnTo>
                  <a:pt x="547" y="1098"/>
                </a:lnTo>
                <a:lnTo>
                  <a:pt x="560" y="1088"/>
                </a:lnTo>
                <a:lnTo>
                  <a:pt x="571" y="1078"/>
                </a:lnTo>
                <a:lnTo>
                  <a:pt x="582" y="1068"/>
                </a:lnTo>
                <a:lnTo>
                  <a:pt x="1650" y="0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A74B507-86AC-2449-B6D1-1A93CA95FDAA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0F79F45-85DE-B949-9825-DB153F4DE558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8981CBB9-A54F-F447-A3CC-2069B379AA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942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407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2"/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1035352" y="1"/>
            <a:ext cx="11156648" cy="3585776"/>
          </a:xfrm>
          <a:custGeom>
            <a:avLst/>
            <a:gdLst>
              <a:gd name="T0" fmla="*/ 1498 w 7574"/>
              <a:gd name="T1" fmla="*/ 0 h 2433"/>
              <a:gd name="T2" fmla="*/ 2354 w 7574"/>
              <a:gd name="T3" fmla="*/ 0 h 2433"/>
              <a:gd name="T4" fmla="*/ 1520 w 7574"/>
              <a:gd name="T5" fmla="*/ 834 h 2433"/>
              <a:gd name="T6" fmla="*/ 664 w 7574"/>
              <a:gd name="T7" fmla="*/ 834 h 2433"/>
              <a:gd name="T8" fmla="*/ 1498 w 7574"/>
              <a:gd name="T9" fmla="*/ 0 h 2433"/>
              <a:gd name="T10" fmla="*/ 2434 w 7574"/>
              <a:gd name="T11" fmla="*/ 0 h 2433"/>
              <a:gd name="T12" fmla="*/ 3290 w 7574"/>
              <a:gd name="T13" fmla="*/ 0 h 2433"/>
              <a:gd name="T14" fmla="*/ 855 w 7574"/>
              <a:gd name="T15" fmla="*/ 2433 h 2433"/>
              <a:gd name="T16" fmla="*/ 0 w 7574"/>
              <a:gd name="T17" fmla="*/ 2433 h 2433"/>
              <a:gd name="T18" fmla="*/ 2434 w 7574"/>
              <a:gd name="T19" fmla="*/ 0 h 2433"/>
              <a:gd name="T20" fmla="*/ 3370 w 7574"/>
              <a:gd name="T21" fmla="*/ 0 h 2433"/>
              <a:gd name="T22" fmla="*/ 4226 w 7574"/>
              <a:gd name="T23" fmla="*/ 0 h 2433"/>
              <a:gd name="T24" fmla="*/ 2661 w 7574"/>
              <a:gd name="T25" fmla="*/ 1564 h 2433"/>
              <a:gd name="T26" fmla="*/ 1806 w 7574"/>
              <a:gd name="T27" fmla="*/ 1564 h 2433"/>
              <a:gd name="T28" fmla="*/ 3370 w 7574"/>
              <a:gd name="T29" fmla="*/ 0 h 2433"/>
              <a:gd name="T30" fmla="*/ 4306 w 7574"/>
              <a:gd name="T31" fmla="*/ 0 h 2433"/>
              <a:gd name="T32" fmla="*/ 5162 w 7574"/>
              <a:gd name="T33" fmla="*/ 0 h 2433"/>
              <a:gd name="T34" fmla="*/ 3046 w 7574"/>
              <a:gd name="T35" fmla="*/ 2115 h 2433"/>
              <a:gd name="T36" fmla="*/ 2190 w 7574"/>
              <a:gd name="T37" fmla="*/ 2115 h 2433"/>
              <a:gd name="T38" fmla="*/ 4306 w 7574"/>
              <a:gd name="T39" fmla="*/ 0 h 2433"/>
              <a:gd name="T40" fmla="*/ 5242 w 7574"/>
              <a:gd name="T41" fmla="*/ 0 h 2433"/>
              <a:gd name="T42" fmla="*/ 6098 w 7574"/>
              <a:gd name="T43" fmla="*/ 0 h 2433"/>
              <a:gd name="T44" fmla="*/ 4896 w 7574"/>
              <a:gd name="T45" fmla="*/ 1201 h 2433"/>
              <a:gd name="T46" fmla="*/ 4040 w 7574"/>
              <a:gd name="T47" fmla="*/ 1201 h 2433"/>
              <a:gd name="T48" fmla="*/ 5242 w 7574"/>
              <a:gd name="T49" fmla="*/ 0 h 2433"/>
              <a:gd name="T50" fmla="*/ 6177 w 7574"/>
              <a:gd name="T51" fmla="*/ 0 h 2433"/>
              <a:gd name="T52" fmla="*/ 7033 w 7574"/>
              <a:gd name="T53" fmla="*/ 0 h 2433"/>
              <a:gd name="T54" fmla="*/ 5123 w 7574"/>
              <a:gd name="T55" fmla="*/ 1909 h 2433"/>
              <a:gd name="T56" fmla="*/ 4267 w 7574"/>
              <a:gd name="T57" fmla="*/ 1909 h 2433"/>
              <a:gd name="T58" fmla="*/ 6177 w 7574"/>
              <a:gd name="T59" fmla="*/ 0 h 2433"/>
              <a:gd name="T60" fmla="*/ 7114 w 7574"/>
              <a:gd name="T61" fmla="*/ 0 h 2433"/>
              <a:gd name="T62" fmla="*/ 7574 w 7574"/>
              <a:gd name="T63" fmla="*/ 0 h 2433"/>
              <a:gd name="T64" fmla="*/ 7574 w 7574"/>
              <a:gd name="T65" fmla="*/ 395 h 2433"/>
              <a:gd name="T66" fmla="*/ 6453 w 7574"/>
              <a:gd name="T67" fmla="*/ 1515 h 2433"/>
              <a:gd name="T68" fmla="*/ 5597 w 7574"/>
              <a:gd name="T69" fmla="*/ 1515 h 2433"/>
              <a:gd name="T70" fmla="*/ 7114 w 7574"/>
              <a:gd name="T71" fmla="*/ 0 h 2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574" h="2433">
                <a:moveTo>
                  <a:pt x="1498" y="0"/>
                </a:moveTo>
                <a:lnTo>
                  <a:pt x="2354" y="0"/>
                </a:lnTo>
                <a:lnTo>
                  <a:pt x="1520" y="834"/>
                </a:lnTo>
                <a:lnTo>
                  <a:pt x="664" y="834"/>
                </a:lnTo>
                <a:lnTo>
                  <a:pt x="1498" y="0"/>
                </a:lnTo>
                <a:close/>
                <a:moveTo>
                  <a:pt x="2434" y="0"/>
                </a:moveTo>
                <a:lnTo>
                  <a:pt x="3290" y="0"/>
                </a:lnTo>
                <a:lnTo>
                  <a:pt x="855" y="2433"/>
                </a:lnTo>
                <a:lnTo>
                  <a:pt x="0" y="2433"/>
                </a:lnTo>
                <a:lnTo>
                  <a:pt x="2434" y="0"/>
                </a:lnTo>
                <a:close/>
                <a:moveTo>
                  <a:pt x="3370" y="0"/>
                </a:moveTo>
                <a:lnTo>
                  <a:pt x="4226" y="0"/>
                </a:lnTo>
                <a:lnTo>
                  <a:pt x="2661" y="1564"/>
                </a:lnTo>
                <a:lnTo>
                  <a:pt x="1806" y="1564"/>
                </a:lnTo>
                <a:lnTo>
                  <a:pt x="3370" y="0"/>
                </a:lnTo>
                <a:close/>
                <a:moveTo>
                  <a:pt x="4306" y="0"/>
                </a:moveTo>
                <a:lnTo>
                  <a:pt x="5162" y="0"/>
                </a:lnTo>
                <a:lnTo>
                  <a:pt x="3046" y="2115"/>
                </a:lnTo>
                <a:lnTo>
                  <a:pt x="2190" y="2115"/>
                </a:lnTo>
                <a:lnTo>
                  <a:pt x="4306" y="0"/>
                </a:lnTo>
                <a:close/>
                <a:moveTo>
                  <a:pt x="5242" y="0"/>
                </a:moveTo>
                <a:lnTo>
                  <a:pt x="6098" y="0"/>
                </a:lnTo>
                <a:lnTo>
                  <a:pt x="4896" y="1201"/>
                </a:lnTo>
                <a:lnTo>
                  <a:pt x="4040" y="1201"/>
                </a:lnTo>
                <a:lnTo>
                  <a:pt x="5242" y="0"/>
                </a:lnTo>
                <a:close/>
                <a:moveTo>
                  <a:pt x="6177" y="0"/>
                </a:moveTo>
                <a:lnTo>
                  <a:pt x="7033" y="0"/>
                </a:lnTo>
                <a:lnTo>
                  <a:pt x="5123" y="1909"/>
                </a:lnTo>
                <a:lnTo>
                  <a:pt x="4267" y="1909"/>
                </a:lnTo>
                <a:lnTo>
                  <a:pt x="6177" y="0"/>
                </a:lnTo>
                <a:close/>
                <a:moveTo>
                  <a:pt x="7114" y="0"/>
                </a:moveTo>
                <a:lnTo>
                  <a:pt x="7574" y="0"/>
                </a:lnTo>
                <a:lnTo>
                  <a:pt x="7574" y="395"/>
                </a:lnTo>
                <a:lnTo>
                  <a:pt x="6453" y="1515"/>
                </a:lnTo>
                <a:lnTo>
                  <a:pt x="5597" y="1515"/>
                </a:lnTo>
                <a:lnTo>
                  <a:pt x="7114" y="0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608DFC-52BD-9F47-A5DC-38DC2D4C9AD6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24B3656-C6B1-1548-9E0B-A58277B20362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19894A57-3362-D845-9FF5-F2BF986B38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1475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400800" cy="685800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918076C-60FD-2C4E-BDB4-DB8EB5CB5E34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25833C6-1312-2040-BCA6-DD8083B17E9C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39D15A36-1805-AE45-B957-19C563F482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942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8569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465945" cy="4465257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852795" y="2857565"/>
            <a:ext cx="3198740" cy="3198247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F9EB295-2A0F-3941-99C9-510F081C66F0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57794D3-DD4B-D14A-ADCC-B01C97479240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9F4A7357-0AC7-3B4C-9CBF-0892F639DE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942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9846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605133" y="2286000"/>
            <a:ext cx="2310695" cy="228600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-16256" y="0"/>
            <a:ext cx="2310695" cy="228600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2294439" y="2286000"/>
            <a:ext cx="2310695" cy="228600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-16256" y="2286000"/>
            <a:ext cx="2310695" cy="228600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294439" y="4572000"/>
            <a:ext cx="2310695" cy="228600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-16256" y="4572000"/>
            <a:ext cx="2310695" cy="228600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16511E6-E95E-054F-8A9F-48D0C3E4F56A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DC1C82D-8973-9644-AF17-B4738DA87243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C33694B4-A4D0-8B4E-8BFF-C4E1792BAC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942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496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3033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7572780" y="1"/>
            <a:ext cx="1514556" cy="1498369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58224" y="1"/>
            <a:ext cx="1514556" cy="1498369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543668" y="1"/>
            <a:ext cx="1514556" cy="1498369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029112" y="1"/>
            <a:ext cx="1514556" cy="1498369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1514556" y="1"/>
            <a:ext cx="1514556" cy="1498369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1514556" cy="1498369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4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058224" y="1498370"/>
            <a:ext cx="1514556" cy="1498369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41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4543668" y="1498370"/>
            <a:ext cx="1514556" cy="1498369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42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3029112" y="1498370"/>
            <a:ext cx="1514556" cy="1498369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43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1514556" y="1498370"/>
            <a:ext cx="1514556" cy="1498369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44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0" y="1498370"/>
            <a:ext cx="1514556" cy="1498369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57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3029112" y="2996739"/>
            <a:ext cx="1514556" cy="1498369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5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514556" y="2996739"/>
            <a:ext cx="1514556" cy="1498369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5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0" y="2996739"/>
            <a:ext cx="1514556" cy="1498369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60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0" y="4495109"/>
            <a:ext cx="1514556" cy="1498369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8D5C075-AD06-2646-98DA-28A6E01A1E31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BC4DAB1-732E-7643-B75F-30F62B6E1922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 descr="A picture containing drawing&#10;&#10;Description automatically generated">
            <a:extLst>
              <a:ext uri="{FF2B5EF4-FFF2-40B4-BE49-F238E27FC236}">
                <a16:creationId xmlns:a16="http://schemas.microsoft.com/office/drawing/2014/main" id="{9280F20D-281D-BF4F-B5EC-F1AEBD0771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942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0992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384299" y="0"/>
            <a:ext cx="2650605" cy="685800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4034903" y="0"/>
            <a:ext cx="2650605" cy="685800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9A9054-01E6-4A43-AEF1-FF58D1366520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DAB939A-8E24-2C48-BFD0-705C1C372796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46B66127-393D-1942-8DAA-86F31367DE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942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055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638299" y="0"/>
            <a:ext cx="3656916" cy="685800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638299" cy="685800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0EF4E2-6FF3-AE41-A78D-F219CB2F2E59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FBFF370-1B4B-AC4B-9E23-E0F35363C9EA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78F5A16D-2F07-DE49-ACA2-319BD09269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942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0012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5295215" cy="685800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E6BB1B-7FD3-5044-8E26-AB8C41868C07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A10AC74-6651-E849-B07C-C83D55763DD6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8FEF8EAE-BD4D-BF4C-AAA9-45CC4C3078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942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97834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8"/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5453540" y="0"/>
            <a:ext cx="6738460" cy="6858000"/>
          </a:xfrm>
          <a:custGeom>
            <a:avLst/>
            <a:gdLst>
              <a:gd name="T0" fmla="*/ 4469 w 4469"/>
              <a:gd name="T1" fmla="*/ 4552 h 4552"/>
              <a:gd name="T2" fmla="*/ 3879 w 4469"/>
              <a:gd name="T3" fmla="*/ 4552 h 4552"/>
              <a:gd name="T4" fmla="*/ 1610 w 4469"/>
              <a:gd name="T5" fmla="*/ 2276 h 4552"/>
              <a:gd name="T6" fmla="*/ 3879 w 4469"/>
              <a:gd name="T7" fmla="*/ 0 h 4552"/>
              <a:gd name="T8" fmla="*/ 4469 w 4469"/>
              <a:gd name="T9" fmla="*/ 0 h 4552"/>
              <a:gd name="T10" fmla="*/ 4469 w 4469"/>
              <a:gd name="T11" fmla="*/ 4552 h 4552"/>
              <a:gd name="T12" fmla="*/ 3799 w 4469"/>
              <a:gd name="T13" fmla="*/ 4552 h 4552"/>
              <a:gd name="T14" fmla="*/ 2269 w 4469"/>
              <a:gd name="T15" fmla="*/ 4552 h 4552"/>
              <a:gd name="T16" fmla="*/ 806 w 4469"/>
              <a:gd name="T17" fmla="*/ 3084 h 4552"/>
              <a:gd name="T18" fmla="*/ 1571 w 4469"/>
              <a:gd name="T19" fmla="*/ 2316 h 4552"/>
              <a:gd name="T20" fmla="*/ 3799 w 4469"/>
              <a:gd name="T21" fmla="*/ 4552 h 4552"/>
              <a:gd name="T22" fmla="*/ 2269 w 4469"/>
              <a:gd name="T23" fmla="*/ 0 h 4552"/>
              <a:gd name="T24" fmla="*/ 3799 w 4469"/>
              <a:gd name="T25" fmla="*/ 0 h 4552"/>
              <a:gd name="T26" fmla="*/ 1571 w 4469"/>
              <a:gd name="T27" fmla="*/ 2236 h 4552"/>
              <a:gd name="T28" fmla="*/ 806 w 4469"/>
              <a:gd name="T29" fmla="*/ 1468 h 4552"/>
              <a:gd name="T30" fmla="*/ 2269 w 4469"/>
              <a:gd name="T31" fmla="*/ 0 h 4552"/>
              <a:gd name="T32" fmla="*/ 0 w 4469"/>
              <a:gd name="T33" fmla="*/ 2276 h 4552"/>
              <a:gd name="T34" fmla="*/ 765 w 4469"/>
              <a:gd name="T35" fmla="*/ 1508 h 4552"/>
              <a:gd name="T36" fmla="*/ 1531 w 4469"/>
              <a:gd name="T37" fmla="*/ 2276 h 4552"/>
              <a:gd name="T38" fmla="*/ 765 w 4469"/>
              <a:gd name="T39" fmla="*/ 3044 h 4552"/>
              <a:gd name="T40" fmla="*/ 0 w 4469"/>
              <a:gd name="T41" fmla="*/ 2276 h 4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469" h="4552">
                <a:moveTo>
                  <a:pt x="4469" y="4552"/>
                </a:moveTo>
                <a:lnTo>
                  <a:pt x="3879" y="4552"/>
                </a:lnTo>
                <a:lnTo>
                  <a:pt x="1610" y="2276"/>
                </a:lnTo>
                <a:lnTo>
                  <a:pt x="3879" y="0"/>
                </a:lnTo>
                <a:lnTo>
                  <a:pt x="4469" y="0"/>
                </a:lnTo>
                <a:lnTo>
                  <a:pt x="4469" y="4552"/>
                </a:lnTo>
                <a:close/>
                <a:moveTo>
                  <a:pt x="3799" y="4552"/>
                </a:moveTo>
                <a:lnTo>
                  <a:pt x="2269" y="4552"/>
                </a:lnTo>
                <a:lnTo>
                  <a:pt x="806" y="3084"/>
                </a:lnTo>
                <a:lnTo>
                  <a:pt x="1571" y="2316"/>
                </a:lnTo>
                <a:lnTo>
                  <a:pt x="3799" y="4552"/>
                </a:lnTo>
                <a:close/>
                <a:moveTo>
                  <a:pt x="2269" y="0"/>
                </a:moveTo>
                <a:lnTo>
                  <a:pt x="3799" y="0"/>
                </a:lnTo>
                <a:lnTo>
                  <a:pt x="1571" y="2236"/>
                </a:lnTo>
                <a:lnTo>
                  <a:pt x="806" y="1468"/>
                </a:lnTo>
                <a:lnTo>
                  <a:pt x="2269" y="0"/>
                </a:lnTo>
                <a:close/>
                <a:moveTo>
                  <a:pt x="0" y="2276"/>
                </a:moveTo>
                <a:lnTo>
                  <a:pt x="765" y="1508"/>
                </a:lnTo>
                <a:lnTo>
                  <a:pt x="1531" y="2276"/>
                </a:lnTo>
                <a:lnTo>
                  <a:pt x="765" y="3044"/>
                </a:lnTo>
                <a:lnTo>
                  <a:pt x="0" y="2276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6D695FF5-6267-0749-9705-3C35E824F8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8138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5227417" y="0"/>
            <a:ext cx="6964583" cy="6858000"/>
          </a:xfrm>
          <a:custGeom>
            <a:avLst/>
            <a:gdLst>
              <a:gd name="T0" fmla="*/ 4619 w 4619"/>
              <a:gd name="T1" fmla="*/ 4552 h 4552"/>
              <a:gd name="T2" fmla="*/ 4241 w 4619"/>
              <a:gd name="T3" fmla="*/ 4552 h 4552"/>
              <a:gd name="T4" fmla="*/ 1972 w 4619"/>
              <a:gd name="T5" fmla="*/ 2276 h 4552"/>
              <a:gd name="T6" fmla="*/ 4241 w 4619"/>
              <a:gd name="T7" fmla="*/ 0 h 4552"/>
              <a:gd name="T8" fmla="*/ 4619 w 4619"/>
              <a:gd name="T9" fmla="*/ 0 h 4552"/>
              <a:gd name="T10" fmla="*/ 4619 w 4619"/>
              <a:gd name="T11" fmla="*/ 4552 h 4552"/>
              <a:gd name="T12" fmla="*/ 986 w 4619"/>
              <a:gd name="T13" fmla="*/ 3265 h 4552"/>
              <a:gd name="T14" fmla="*/ 1932 w 4619"/>
              <a:gd name="T15" fmla="*/ 2316 h 4552"/>
              <a:gd name="T16" fmla="*/ 2879 w 4619"/>
              <a:gd name="T17" fmla="*/ 3265 h 4552"/>
              <a:gd name="T18" fmla="*/ 1932 w 4619"/>
              <a:gd name="T19" fmla="*/ 4214 h 4552"/>
              <a:gd name="T20" fmla="*/ 986 w 4619"/>
              <a:gd name="T21" fmla="*/ 3265 h 4552"/>
              <a:gd name="T22" fmla="*/ 0 w 4619"/>
              <a:gd name="T23" fmla="*/ 2276 h 4552"/>
              <a:gd name="T24" fmla="*/ 946 w 4619"/>
              <a:gd name="T25" fmla="*/ 1327 h 4552"/>
              <a:gd name="T26" fmla="*/ 1893 w 4619"/>
              <a:gd name="T27" fmla="*/ 2276 h 4552"/>
              <a:gd name="T28" fmla="*/ 946 w 4619"/>
              <a:gd name="T29" fmla="*/ 3225 h 4552"/>
              <a:gd name="T30" fmla="*/ 0 w 4619"/>
              <a:gd name="T31" fmla="*/ 2276 h 4552"/>
              <a:gd name="T32" fmla="*/ 986 w 4619"/>
              <a:gd name="T33" fmla="*/ 1287 h 4552"/>
              <a:gd name="T34" fmla="*/ 1932 w 4619"/>
              <a:gd name="T35" fmla="*/ 338 h 4552"/>
              <a:gd name="T36" fmla="*/ 2879 w 4619"/>
              <a:gd name="T37" fmla="*/ 1287 h 4552"/>
              <a:gd name="T38" fmla="*/ 1932 w 4619"/>
              <a:gd name="T39" fmla="*/ 2236 h 4552"/>
              <a:gd name="T40" fmla="*/ 986 w 4619"/>
              <a:gd name="T41" fmla="*/ 1287 h 4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619" h="4552">
                <a:moveTo>
                  <a:pt x="4619" y="4552"/>
                </a:moveTo>
                <a:lnTo>
                  <a:pt x="4241" y="4552"/>
                </a:lnTo>
                <a:lnTo>
                  <a:pt x="1972" y="2276"/>
                </a:lnTo>
                <a:lnTo>
                  <a:pt x="4241" y="0"/>
                </a:lnTo>
                <a:lnTo>
                  <a:pt x="4619" y="0"/>
                </a:lnTo>
                <a:lnTo>
                  <a:pt x="4619" y="4552"/>
                </a:lnTo>
                <a:close/>
                <a:moveTo>
                  <a:pt x="986" y="3265"/>
                </a:moveTo>
                <a:lnTo>
                  <a:pt x="1932" y="2316"/>
                </a:lnTo>
                <a:lnTo>
                  <a:pt x="2879" y="3265"/>
                </a:lnTo>
                <a:lnTo>
                  <a:pt x="1932" y="4214"/>
                </a:lnTo>
                <a:lnTo>
                  <a:pt x="986" y="3265"/>
                </a:lnTo>
                <a:close/>
                <a:moveTo>
                  <a:pt x="0" y="2276"/>
                </a:moveTo>
                <a:lnTo>
                  <a:pt x="946" y="1327"/>
                </a:lnTo>
                <a:lnTo>
                  <a:pt x="1893" y="2276"/>
                </a:lnTo>
                <a:lnTo>
                  <a:pt x="946" y="3225"/>
                </a:lnTo>
                <a:lnTo>
                  <a:pt x="0" y="2276"/>
                </a:lnTo>
                <a:close/>
                <a:moveTo>
                  <a:pt x="986" y="1287"/>
                </a:moveTo>
                <a:lnTo>
                  <a:pt x="1932" y="338"/>
                </a:lnTo>
                <a:lnTo>
                  <a:pt x="2879" y="1287"/>
                </a:lnTo>
                <a:lnTo>
                  <a:pt x="1932" y="2236"/>
                </a:lnTo>
                <a:lnTo>
                  <a:pt x="986" y="1287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D8D9502D-82B4-9142-8BC1-1F68C1904A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7170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1"/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0" y="0"/>
            <a:ext cx="9887684" cy="6858000"/>
          </a:xfrm>
          <a:custGeom>
            <a:avLst/>
            <a:gdLst>
              <a:gd name="T0" fmla="*/ 0 w 3711"/>
              <a:gd name="T1" fmla="*/ 0 h 3236"/>
              <a:gd name="T2" fmla="*/ 319 w 3711"/>
              <a:gd name="T3" fmla="*/ 557 h 3236"/>
              <a:gd name="T4" fmla="*/ 640 w 3711"/>
              <a:gd name="T5" fmla="*/ 0 h 3236"/>
              <a:gd name="T6" fmla="*/ 0 w 3711"/>
              <a:gd name="T7" fmla="*/ 0 h 3236"/>
              <a:gd name="T8" fmla="*/ 349 w 3711"/>
              <a:gd name="T9" fmla="*/ 608 h 3236"/>
              <a:gd name="T10" fmla="*/ 625 w 3711"/>
              <a:gd name="T11" fmla="*/ 1089 h 3236"/>
              <a:gd name="T12" fmla="*/ 1252 w 3711"/>
              <a:gd name="T13" fmla="*/ 0 h 3236"/>
              <a:gd name="T14" fmla="*/ 699 w 3711"/>
              <a:gd name="T15" fmla="*/ 0 h 3236"/>
              <a:gd name="T16" fmla="*/ 349 w 3711"/>
              <a:gd name="T17" fmla="*/ 608 h 3236"/>
              <a:gd name="T18" fmla="*/ 654 w 3711"/>
              <a:gd name="T19" fmla="*/ 1140 h 3236"/>
              <a:gd name="T20" fmla="*/ 930 w 3711"/>
              <a:gd name="T21" fmla="*/ 1621 h 3236"/>
              <a:gd name="T22" fmla="*/ 1863 w 3711"/>
              <a:gd name="T23" fmla="*/ 0 h 3236"/>
              <a:gd name="T24" fmla="*/ 1310 w 3711"/>
              <a:gd name="T25" fmla="*/ 0 h 3236"/>
              <a:gd name="T26" fmla="*/ 654 w 3711"/>
              <a:gd name="T27" fmla="*/ 1140 h 3236"/>
              <a:gd name="T28" fmla="*/ 959 w 3711"/>
              <a:gd name="T29" fmla="*/ 1672 h 3236"/>
              <a:gd name="T30" fmla="*/ 1235 w 3711"/>
              <a:gd name="T31" fmla="*/ 2153 h 3236"/>
              <a:gd name="T32" fmla="*/ 2475 w 3711"/>
              <a:gd name="T33" fmla="*/ 0 h 3236"/>
              <a:gd name="T34" fmla="*/ 1921 w 3711"/>
              <a:gd name="T35" fmla="*/ 0 h 3236"/>
              <a:gd name="T36" fmla="*/ 959 w 3711"/>
              <a:gd name="T37" fmla="*/ 1672 h 3236"/>
              <a:gd name="T38" fmla="*/ 1265 w 3711"/>
              <a:gd name="T39" fmla="*/ 2204 h 3236"/>
              <a:gd name="T40" fmla="*/ 1541 w 3711"/>
              <a:gd name="T41" fmla="*/ 2685 h 3236"/>
              <a:gd name="T42" fmla="*/ 3086 w 3711"/>
              <a:gd name="T43" fmla="*/ 0 h 3236"/>
              <a:gd name="T44" fmla="*/ 2533 w 3711"/>
              <a:gd name="T45" fmla="*/ 0 h 3236"/>
              <a:gd name="T46" fmla="*/ 1265 w 3711"/>
              <a:gd name="T47" fmla="*/ 2204 h 3236"/>
              <a:gd name="T48" fmla="*/ 1569 w 3711"/>
              <a:gd name="T49" fmla="*/ 2736 h 3236"/>
              <a:gd name="T50" fmla="*/ 1856 w 3711"/>
              <a:gd name="T51" fmla="*/ 3236 h 3236"/>
              <a:gd name="T52" fmla="*/ 3711 w 3711"/>
              <a:gd name="T53" fmla="*/ 0 h 3236"/>
              <a:gd name="T54" fmla="*/ 3144 w 3711"/>
              <a:gd name="T55" fmla="*/ 0 h 3236"/>
              <a:gd name="T56" fmla="*/ 1569 w 3711"/>
              <a:gd name="T57" fmla="*/ 2736 h 32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711" h="3236">
                <a:moveTo>
                  <a:pt x="0" y="0"/>
                </a:moveTo>
                <a:lnTo>
                  <a:pt x="319" y="557"/>
                </a:lnTo>
                <a:lnTo>
                  <a:pt x="640" y="0"/>
                </a:lnTo>
                <a:lnTo>
                  <a:pt x="0" y="0"/>
                </a:lnTo>
                <a:close/>
                <a:moveTo>
                  <a:pt x="349" y="608"/>
                </a:moveTo>
                <a:lnTo>
                  <a:pt x="625" y="1089"/>
                </a:lnTo>
                <a:lnTo>
                  <a:pt x="1252" y="0"/>
                </a:lnTo>
                <a:lnTo>
                  <a:pt x="699" y="0"/>
                </a:lnTo>
                <a:lnTo>
                  <a:pt x="349" y="608"/>
                </a:lnTo>
                <a:close/>
                <a:moveTo>
                  <a:pt x="654" y="1140"/>
                </a:moveTo>
                <a:lnTo>
                  <a:pt x="930" y="1621"/>
                </a:lnTo>
                <a:lnTo>
                  <a:pt x="1863" y="0"/>
                </a:lnTo>
                <a:lnTo>
                  <a:pt x="1310" y="0"/>
                </a:lnTo>
                <a:lnTo>
                  <a:pt x="654" y="1140"/>
                </a:lnTo>
                <a:close/>
                <a:moveTo>
                  <a:pt x="959" y="1672"/>
                </a:moveTo>
                <a:lnTo>
                  <a:pt x="1235" y="2153"/>
                </a:lnTo>
                <a:lnTo>
                  <a:pt x="2475" y="0"/>
                </a:lnTo>
                <a:lnTo>
                  <a:pt x="1921" y="0"/>
                </a:lnTo>
                <a:lnTo>
                  <a:pt x="959" y="1672"/>
                </a:lnTo>
                <a:close/>
                <a:moveTo>
                  <a:pt x="1265" y="2204"/>
                </a:moveTo>
                <a:lnTo>
                  <a:pt x="1541" y="2685"/>
                </a:lnTo>
                <a:lnTo>
                  <a:pt x="3086" y="0"/>
                </a:lnTo>
                <a:lnTo>
                  <a:pt x="2533" y="0"/>
                </a:lnTo>
                <a:lnTo>
                  <a:pt x="1265" y="2204"/>
                </a:lnTo>
                <a:close/>
                <a:moveTo>
                  <a:pt x="1569" y="2736"/>
                </a:moveTo>
                <a:lnTo>
                  <a:pt x="1856" y="3236"/>
                </a:lnTo>
                <a:lnTo>
                  <a:pt x="3711" y="0"/>
                </a:lnTo>
                <a:lnTo>
                  <a:pt x="3144" y="0"/>
                </a:lnTo>
                <a:lnTo>
                  <a:pt x="1569" y="2736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15A93F-8D3D-0E48-AA97-AD1B6C72E9F7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9A29F2E-FFA5-D642-A7B1-649FAF358CDA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A60EF8A0-D67E-7B46-B510-8643BBC019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942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0168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sz="quarter" idx="10"/>
          </p:nvPr>
        </p:nvSpPr>
        <p:spPr bwMode="auto">
          <a:xfrm>
            <a:off x="0" y="0"/>
            <a:ext cx="7866179" cy="6858000"/>
          </a:xfrm>
          <a:custGeom>
            <a:avLst/>
            <a:gdLst>
              <a:gd name="connsiteX0" fmla="*/ 2182082 w 8389157"/>
              <a:gd name="connsiteY0" fmla="*/ 3719723 h 7315076"/>
              <a:gd name="connsiteX1" fmla="*/ 6229680 w 8389157"/>
              <a:gd name="connsiteY1" fmla="*/ 3719723 h 7315076"/>
              <a:gd name="connsiteX2" fmla="*/ 4205881 w 8389157"/>
              <a:gd name="connsiteY2" fmla="*/ 7315076 h 7315076"/>
              <a:gd name="connsiteX3" fmla="*/ 4194578 w 8389157"/>
              <a:gd name="connsiteY3" fmla="*/ 0 h 7315076"/>
              <a:gd name="connsiteX4" fmla="*/ 6218377 w 8389157"/>
              <a:gd name="connsiteY4" fmla="*/ 3595353 h 7315076"/>
              <a:gd name="connsiteX5" fmla="*/ 2170779 w 8389157"/>
              <a:gd name="connsiteY5" fmla="*/ 3595353 h 7315076"/>
              <a:gd name="connsiteX6" fmla="*/ 0 w 8389157"/>
              <a:gd name="connsiteY6" fmla="*/ 0 h 7315076"/>
              <a:gd name="connsiteX7" fmla="*/ 4058908 w 8389157"/>
              <a:gd name="connsiteY7" fmla="*/ 0 h 7315076"/>
              <a:gd name="connsiteX8" fmla="*/ 2028321 w 8389157"/>
              <a:gd name="connsiteY8" fmla="*/ 3595353 h 7315076"/>
              <a:gd name="connsiteX9" fmla="*/ 4330249 w 8389157"/>
              <a:gd name="connsiteY9" fmla="*/ 0 h 7315076"/>
              <a:gd name="connsiteX10" fmla="*/ 8389157 w 8389157"/>
              <a:gd name="connsiteY10" fmla="*/ 0 h 7315076"/>
              <a:gd name="connsiteX11" fmla="*/ 6358570 w 8389157"/>
              <a:gd name="connsiteY11" fmla="*/ 3595353 h 7315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389157" h="7315076">
                <a:moveTo>
                  <a:pt x="2182082" y="3719723"/>
                </a:moveTo>
                <a:lnTo>
                  <a:pt x="6229680" y="3719723"/>
                </a:lnTo>
                <a:lnTo>
                  <a:pt x="4205881" y="7315076"/>
                </a:lnTo>
                <a:close/>
                <a:moveTo>
                  <a:pt x="4194578" y="0"/>
                </a:moveTo>
                <a:lnTo>
                  <a:pt x="6218377" y="3595353"/>
                </a:lnTo>
                <a:lnTo>
                  <a:pt x="2170779" y="3595353"/>
                </a:lnTo>
                <a:close/>
                <a:moveTo>
                  <a:pt x="0" y="0"/>
                </a:moveTo>
                <a:lnTo>
                  <a:pt x="4058908" y="0"/>
                </a:lnTo>
                <a:lnTo>
                  <a:pt x="2028321" y="3595353"/>
                </a:lnTo>
                <a:close/>
                <a:moveTo>
                  <a:pt x="4330249" y="0"/>
                </a:moveTo>
                <a:lnTo>
                  <a:pt x="8389157" y="0"/>
                </a:lnTo>
                <a:lnTo>
                  <a:pt x="6358570" y="3595353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92AF47E-68AB-774B-A4BE-863237BD6856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D096130-A7E0-2644-98A2-D409BE440FF2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B2BA02F9-D905-CA49-974B-30D9929937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942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0226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6973825" y="1534410"/>
            <a:ext cx="5218175" cy="5323590"/>
          </a:xfrm>
          <a:custGeom>
            <a:avLst/>
            <a:gdLst>
              <a:gd name="T0" fmla="*/ 2840 w 4177"/>
              <a:gd name="T1" fmla="*/ 704 h 4262"/>
              <a:gd name="T2" fmla="*/ 2804 w 4177"/>
              <a:gd name="T3" fmla="*/ 586 h 4262"/>
              <a:gd name="T4" fmla="*/ 2798 w 4177"/>
              <a:gd name="T5" fmla="*/ 465 h 4262"/>
              <a:gd name="T6" fmla="*/ 2820 w 4177"/>
              <a:gd name="T7" fmla="*/ 348 h 4262"/>
              <a:gd name="T8" fmla="*/ 2870 w 4177"/>
              <a:gd name="T9" fmla="*/ 237 h 4262"/>
              <a:gd name="T10" fmla="*/ 2946 w 4177"/>
              <a:gd name="T11" fmla="*/ 142 h 4262"/>
              <a:gd name="T12" fmla="*/ 3045 w 4177"/>
              <a:gd name="T13" fmla="*/ 67 h 4262"/>
              <a:gd name="T14" fmla="*/ 3160 w 4177"/>
              <a:gd name="T15" fmla="*/ 18 h 4262"/>
              <a:gd name="T16" fmla="*/ 3280 w 4177"/>
              <a:gd name="T17" fmla="*/ 0 h 4262"/>
              <a:gd name="T18" fmla="*/ 3400 w 4177"/>
              <a:gd name="T19" fmla="*/ 11 h 4262"/>
              <a:gd name="T20" fmla="*/ 3513 w 4177"/>
              <a:gd name="T21" fmla="*/ 51 h 4262"/>
              <a:gd name="T22" fmla="*/ 3613 w 4177"/>
              <a:gd name="T23" fmla="*/ 116 h 4262"/>
              <a:gd name="T24" fmla="*/ 3698 w 4177"/>
              <a:gd name="T25" fmla="*/ 207 h 4262"/>
              <a:gd name="T26" fmla="*/ 4177 w 4177"/>
              <a:gd name="T27" fmla="*/ 4262 h 4262"/>
              <a:gd name="T28" fmla="*/ 2441 w 4177"/>
              <a:gd name="T29" fmla="*/ 2118 h 4262"/>
              <a:gd name="T30" fmla="*/ 2411 w 4177"/>
              <a:gd name="T31" fmla="*/ 1999 h 4262"/>
              <a:gd name="T32" fmla="*/ 2411 w 4177"/>
              <a:gd name="T33" fmla="*/ 1878 h 4262"/>
              <a:gd name="T34" fmla="*/ 2439 w 4177"/>
              <a:gd name="T35" fmla="*/ 1761 h 4262"/>
              <a:gd name="T36" fmla="*/ 2495 w 4177"/>
              <a:gd name="T37" fmla="*/ 1654 h 4262"/>
              <a:gd name="T38" fmla="*/ 2574 w 4177"/>
              <a:gd name="T39" fmla="*/ 1562 h 4262"/>
              <a:gd name="T40" fmla="*/ 2679 w 4177"/>
              <a:gd name="T41" fmla="*/ 1491 h 4262"/>
              <a:gd name="T42" fmla="*/ 2796 w 4177"/>
              <a:gd name="T43" fmla="*/ 1449 h 4262"/>
              <a:gd name="T44" fmla="*/ 2916 w 4177"/>
              <a:gd name="T45" fmla="*/ 1437 h 4262"/>
              <a:gd name="T46" fmla="*/ 3034 w 4177"/>
              <a:gd name="T47" fmla="*/ 1454 h 4262"/>
              <a:gd name="T48" fmla="*/ 3145 w 4177"/>
              <a:gd name="T49" fmla="*/ 1498 h 4262"/>
              <a:gd name="T50" fmla="*/ 3243 w 4177"/>
              <a:gd name="T51" fmla="*/ 1569 h 4262"/>
              <a:gd name="T52" fmla="*/ 3323 w 4177"/>
              <a:gd name="T53" fmla="*/ 1664 h 4262"/>
              <a:gd name="T54" fmla="*/ 641 w 4177"/>
              <a:gd name="T55" fmla="*/ 1114 h 4262"/>
              <a:gd name="T56" fmla="*/ 593 w 4177"/>
              <a:gd name="T57" fmla="*/ 997 h 4262"/>
              <a:gd name="T58" fmla="*/ 575 w 4177"/>
              <a:gd name="T59" fmla="*/ 877 h 4262"/>
              <a:gd name="T60" fmla="*/ 586 w 4177"/>
              <a:gd name="T61" fmla="*/ 758 h 4262"/>
              <a:gd name="T62" fmla="*/ 625 w 4177"/>
              <a:gd name="T63" fmla="*/ 644 h 4262"/>
              <a:gd name="T64" fmla="*/ 690 w 4177"/>
              <a:gd name="T65" fmla="*/ 543 h 4262"/>
              <a:gd name="T66" fmla="*/ 781 w 4177"/>
              <a:gd name="T67" fmla="*/ 458 h 4262"/>
              <a:gd name="T68" fmla="*/ 892 w 4177"/>
              <a:gd name="T69" fmla="*/ 397 h 4262"/>
              <a:gd name="T70" fmla="*/ 1011 w 4177"/>
              <a:gd name="T71" fmla="*/ 368 h 4262"/>
              <a:gd name="T72" fmla="*/ 1130 w 4177"/>
              <a:gd name="T73" fmla="*/ 368 h 4262"/>
              <a:gd name="T74" fmla="*/ 1246 w 4177"/>
              <a:gd name="T75" fmla="*/ 396 h 4262"/>
              <a:gd name="T76" fmla="*/ 1353 w 4177"/>
              <a:gd name="T77" fmla="*/ 451 h 4262"/>
              <a:gd name="T78" fmla="*/ 1445 w 4177"/>
              <a:gd name="T79" fmla="*/ 532 h 4262"/>
              <a:gd name="T80" fmla="*/ 3602 w 4177"/>
              <a:gd name="T81" fmla="*/ 4262 h 4262"/>
              <a:gd name="T82" fmla="*/ 42 w 4177"/>
              <a:gd name="T83" fmla="*/ 2181 h 4262"/>
              <a:gd name="T84" fmla="*/ 7 w 4177"/>
              <a:gd name="T85" fmla="*/ 2062 h 4262"/>
              <a:gd name="T86" fmla="*/ 1 w 4177"/>
              <a:gd name="T87" fmla="*/ 1941 h 4262"/>
              <a:gd name="T88" fmla="*/ 23 w 4177"/>
              <a:gd name="T89" fmla="*/ 1824 h 4262"/>
              <a:gd name="T90" fmla="*/ 73 w 4177"/>
              <a:gd name="T91" fmla="*/ 1715 h 4262"/>
              <a:gd name="T92" fmla="*/ 148 w 4177"/>
              <a:gd name="T93" fmla="*/ 1619 h 4262"/>
              <a:gd name="T94" fmla="*/ 247 w 4177"/>
              <a:gd name="T95" fmla="*/ 1543 h 4262"/>
              <a:gd name="T96" fmla="*/ 363 w 4177"/>
              <a:gd name="T97" fmla="*/ 1494 h 4262"/>
              <a:gd name="T98" fmla="*/ 483 w 4177"/>
              <a:gd name="T99" fmla="*/ 1476 h 4262"/>
              <a:gd name="T100" fmla="*/ 602 w 4177"/>
              <a:gd name="T101" fmla="*/ 1488 h 4262"/>
              <a:gd name="T102" fmla="*/ 716 w 4177"/>
              <a:gd name="T103" fmla="*/ 1527 h 4262"/>
              <a:gd name="T104" fmla="*/ 816 w 4177"/>
              <a:gd name="T105" fmla="*/ 1592 h 4262"/>
              <a:gd name="T106" fmla="*/ 901 w 4177"/>
              <a:gd name="T107" fmla="*/ 1683 h 42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177" h="4262">
                <a:moveTo>
                  <a:pt x="4177" y="1036"/>
                </a:moveTo>
                <a:lnTo>
                  <a:pt x="4177" y="3034"/>
                </a:lnTo>
                <a:lnTo>
                  <a:pt x="2863" y="749"/>
                </a:lnTo>
                <a:lnTo>
                  <a:pt x="2850" y="727"/>
                </a:lnTo>
                <a:lnTo>
                  <a:pt x="2840" y="704"/>
                </a:lnTo>
                <a:lnTo>
                  <a:pt x="2830" y="681"/>
                </a:lnTo>
                <a:lnTo>
                  <a:pt x="2822" y="657"/>
                </a:lnTo>
                <a:lnTo>
                  <a:pt x="2814" y="634"/>
                </a:lnTo>
                <a:lnTo>
                  <a:pt x="2808" y="609"/>
                </a:lnTo>
                <a:lnTo>
                  <a:pt x="2804" y="586"/>
                </a:lnTo>
                <a:lnTo>
                  <a:pt x="2800" y="562"/>
                </a:lnTo>
                <a:lnTo>
                  <a:pt x="2798" y="538"/>
                </a:lnTo>
                <a:lnTo>
                  <a:pt x="2797" y="513"/>
                </a:lnTo>
                <a:lnTo>
                  <a:pt x="2797" y="489"/>
                </a:lnTo>
                <a:lnTo>
                  <a:pt x="2798" y="465"/>
                </a:lnTo>
                <a:lnTo>
                  <a:pt x="2800" y="441"/>
                </a:lnTo>
                <a:lnTo>
                  <a:pt x="2804" y="417"/>
                </a:lnTo>
                <a:lnTo>
                  <a:pt x="2808" y="393"/>
                </a:lnTo>
                <a:lnTo>
                  <a:pt x="2814" y="370"/>
                </a:lnTo>
                <a:lnTo>
                  <a:pt x="2820" y="348"/>
                </a:lnTo>
                <a:lnTo>
                  <a:pt x="2828" y="324"/>
                </a:lnTo>
                <a:lnTo>
                  <a:pt x="2837" y="302"/>
                </a:lnTo>
                <a:lnTo>
                  <a:pt x="2847" y="280"/>
                </a:lnTo>
                <a:lnTo>
                  <a:pt x="2858" y="259"/>
                </a:lnTo>
                <a:lnTo>
                  <a:pt x="2870" y="237"/>
                </a:lnTo>
                <a:lnTo>
                  <a:pt x="2883" y="217"/>
                </a:lnTo>
                <a:lnTo>
                  <a:pt x="2897" y="198"/>
                </a:lnTo>
                <a:lnTo>
                  <a:pt x="2913" y="179"/>
                </a:lnTo>
                <a:lnTo>
                  <a:pt x="2929" y="161"/>
                </a:lnTo>
                <a:lnTo>
                  <a:pt x="2946" y="142"/>
                </a:lnTo>
                <a:lnTo>
                  <a:pt x="2964" y="125"/>
                </a:lnTo>
                <a:lnTo>
                  <a:pt x="2982" y="109"/>
                </a:lnTo>
                <a:lnTo>
                  <a:pt x="3002" y="94"/>
                </a:lnTo>
                <a:lnTo>
                  <a:pt x="3023" y="80"/>
                </a:lnTo>
                <a:lnTo>
                  <a:pt x="3045" y="67"/>
                </a:lnTo>
                <a:lnTo>
                  <a:pt x="3068" y="55"/>
                </a:lnTo>
                <a:lnTo>
                  <a:pt x="3090" y="43"/>
                </a:lnTo>
                <a:lnTo>
                  <a:pt x="3113" y="33"/>
                </a:lnTo>
                <a:lnTo>
                  <a:pt x="3137" y="25"/>
                </a:lnTo>
                <a:lnTo>
                  <a:pt x="3160" y="18"/>
                </a:lnTo>
                <a:lnTo>
                  <a:pt x="3184" y="12"/>
                </a:lnTo>
                <a:lnTo>
                  <a:pt x="3208" y="7"/>
                </a:lnTo>
                <a:lnTo>
                  <a:pt x="3232" y="4"/>
                </a:lnTo>
                <a:lnTo>
                  <a:pt x="3256" y="1"/>
                </a:lnTo>
                <a:lnTo>
                  <a:pt x="3280" y="0"/>
                </a:lnTo>
                <a:lnTo>
                  <a:pt x="3304" y="0"/>
                </a:lnTo>
                <a:lnTo>
                  <a:pt x="3328" y="1"/>
                </a:lnTo>
                <a:lnTo>
                  <a:pt x="3353" y="4"/>
                </a:lnTo>
                <a:lnTo>
                  <a:pt x="3376" y="7"/>
                </a:lnTo>
                <a:lnTo>
                  <a:pt x="3400" y="11"/>
                </a:lnTo>
                <a:lnTo>
                  <a:pt x="3423" y="17"/>
                </a:lnTo>
                <a:lnTo>
                  <a:pt x="3446" y="24"/>
                </a:lnTo>
                <a:lnTo>
                  <a:pt x="3468" y="32"/>
                </a:lnTo>
                <a:lnTo>
                  <a:pt x="3491" y="40"/>
                </a:lnTo>
                <a:lnTo>
                  <a:pt x="3513" y="51"/>
                </a:lnTo>
                <a:lnTo>
                  <a:pt x="3534" y="62"/>
                </a:lnTo>
                <a:lnTo>
                  <a:pt x="3555" y="74"/>
                </a:lnTo>
                <a:lnTo>
                  <a:pt x="3575" y="87"/>
                </a:lnTo>
                <a:lnTo>
                  <a:pt x="3594" y="101"/>
                </a:lnTo>
                <a:lnTo>
                  <a:pt x="3613" y="116"/>
                </a:lnTo>
                <a:lnTo>
                  <a:pt x="3633" y="132"/>
                </a:lnTo>
                <a:lnTo>
                  <a:pt x="3650" y="150"/>
                </a:lnTo>
                <a:lnTo>
                  <a:pt x="3667" y="168"/>
                </a:lnTo>
                <a:lnTo>
                  <a:pt x="3683" y="187"/>
                </a:lnTo>
                <a:lnTo>
                  <a:pt x="3698" y="207"/>
                </a:lnTo>
                <a:lnTo>
                  <a:pt x="3712" y="227"/>
                </a:lnTo>
                <a:lnTo>
                  <a:pt x="3725" y="250"/>
                </a:lnTo>
                <a:lnTo>
                  <a:pt x="4177" y="1036"/>
                </a:lnTo>
                <a:close/>
                <a:moveTo>
                  <a:pt x="4177" y="3148"/>
                </a:moveTo>
                <a:lnTo>
                  <a:pt x="4177" y="4262"/>
                </a:lnTo>
                <a:lnTo>
                  <a:pt x="3668" y="4262"/>
                </a:lnTo>
                <a:lnTo>
                  <a:pt x="2474" y="2187"/>
                </a:lnTo>
                <a:lnTo>
                  <a:pt x="2462" y="2163"/>
                </a:lnTo>
                <a:lnTo>
                  <a:pt x="2450" y="2141"/>
                </a:lnTo>
                <a:lnTo>
                  <a:pt x="2441" y="2118"/>
                </a:lnTo>
                <a:lnTo>
                  <a:pt x="2432" y="2095"/>
                </a:lnTo>
                <a:lnTo>
                  <a:pt x="2425" y="2070"/>
                </a:lnTo>
                <a:lnTo>
                  <a:pt x="2419" y="2047"/>
                </a:lnTo>
                <a:lnTo>
                  <a:pt x="2415" y="2023"/>
                </a:lnTo>
                <a:lnTo>
                  <a:pt x="2411" y="1999"/>
                </a:lnTo>
                <a:lnTo>
                  <a:pt x="2409" y="1974"/>
                </a:lnTo>
                <a:lnTo>
                  <a:pt x="2408" y="1950"/>
                </a:lnTo>
                <a:lnTo>
                  <a:pt x="2408" y="1926"/>
                </a:lnTo>
                <a:lnTo>
                  <a:pt x="2409" y="1902"/>
                </a:lnTo>
                <a:lnTo>
                  <a:pt x="2411" y="1878"/>
                </a:lnTo>
                <a:lnTo>
                  <a:pt x="2414" y="1854"/>
                </a:lnTo>
                <a:lnTo>
                  <a:pt x="2419" y="1831"/>
                </a:lnTo>
                <a:lnTo>
                  <a:pt x="2425" y="1808"/>
                </a:lnTo>
                <a:lnTo>
                  <a:pt x="2431" y="1784"/>
                </a:lnTo>
                <a:lnTo>
                  <a:pt x="2439" y="1761"/>
                </a:lnTo>
                <a:lnTo>
                  <a:pt x="2448" y="1739"/>
                </a:lnTo>
                <a:lnTo>
                  <a:pt x="2458" y="1718"/>
                </a:lnTo>
                <a:lnTo>
                  <a:pt x="2470" y="1696"/>
                </a:lnTo>
                <a:lnTo>
                  <a:pt x="2482" y="1675"/>
                </a:lnTo>
                <a:lnTo>
                  <a:pt x="2495" y="1654"/>
                </a:lnTo>
                <a:lnTo>
                  <a:pt x="2509" y="1635"/>
                </a:lnTo>
                <a:lnTo>
                  <a:pt x="2524" y="1616"/>
                </a:lnTo>
                <a:lnTo>
                  <a:pt x="2540" y="1597"/>
                </a:lnTo>
                <a:lnTo>
                  <a:pt x="2557" y="1579"/>
                </a:lnTo>
                <a:lnTo>
                  <a:pt x="2574" y="1562"/>
                </a:lnTo>
                <a:lnTo>
                  <a:pt x="2593" y="1547"/>
                </a:lnTo>
                <a:lnTo>
                  <a:pt x="2614" y="1531"/>
                </a:lnTo>
                <a:lnTo>
                  <a:pt x="2635" y="1517"/>
                </a:lnTo>
                <a:lnTo>
                  <a:pt x="2656" y="1504"/>
                </a:lnTo>
                <a:lnTo>
                  <a:pt x="2679" y="1491"/>
                </a:lnTo>
                <a:lnTo>
                  <a:pt x="2701" y="1480"/>
                </a:lnTo>
                <a:lnTo>
                  <a:pt x="2724" y="1471"/>
                </a:lnTo>
                <a:lnTo>
                  <a:pt x="2748" y="1462"/>
                </a:lnTo>
                <a:lnTo>
                  <a:pt x="2772" y="1455"/>
                </a:lnTo>
                <a:lnTo>
                  <a:pt x="2796" y="1449"/>
                </a:lnTo>
                <a:lnTo>
                  <a:pt x="2819" y="1444"/>
                </a:lnTo>
                <a:lnTo>
                  <a:pt x="2843" y="1441"/>
                </a:lnTo>
                <a:lnTo>
                  <a:pt x="2867" y="1439"/>
                </a:lnTo>
                <a:lnTo>
                  <a:pt x="2891" y="1437"/>
                </a:lnTo>
                <a:lnTo>
                  <a:pt x="2916" y="1437"/>
                </a:lnTo>
                <a:lnTo>
                  <a:pt x="2940" y="1438"/>
                </a:lnTo>
                <a:lnTo>
                  <a:pt x="2964" y="1441"/>
                </a:lnTo>
                <a:lnTo>
                  <a:pt x="2987" y="1444"/>
                </a:lnTo>
                <a:lnTo>
                  <a:pt x="3010" y="1449"/>
                </a:lnTo>
                <a:lnTo>
                  <a:pt x="3034" y="1454"/>
                </a:lnTo>
                <a:lnTo>
                  <a:pt x="3057" y="1461"/>
                </a:lnTo>
                <a:lnTo>
                  <a:pt x="3080" y="1469"/>
                </a:lnTo>
                <a:lnTo>
                  <a:pt x="3102" y="1478"/>
                </a:lnTo>
                <a:lnTo>
                  <a:pt x="3124" y="1487"/>
                </a:lnTo>
                <a:lnTo>
                  <a:pt x="3145" y="1498"/>
                </a:lnTo>
                <a:lnTo>
                  <a:pt x="3166" y="1511"/>
                </a:lnTo>
                <a:lnTo>
                  <a:pt x="3186" y="1524"/>
                </a:lnTo>
                <a:lnTo>
                  <a:pt x="3206" y="1538"/>
                </a:lnTo>
                <a:lnTo>
                  <a:pt x="3225" y="1553"/>
                </a:lnTo>
                <a:lnTo>
                  <a:pt x="3243" y="1569"/>
                </a:lnTo>
                <a:lnTo>
                  <a:pt x="3261" y="1586"/>
                </a:lnTo>
                <a:lnTo>
                  <a:pt x="3278" y="1605"/>
                </a:lnTo>
                <a:lnTo>
                  <a:pt x="3294" y="1624"/>
                </a:lnTo>
                <a:lnTo>
                  <a:pt x="3309" y="1644"/>
                </a:lnTo>
                <a:lnTo>
                  <a:pt x="3323" y="1664"/>
                </a:lnTo>
                <a:lnTo>
                  <a:pt x="3336" y="1686"/>
                </a:lnTo>
                <a:lnTo>
                  <a:pt x="4177" y="3148"/>
                </a:lnTo>
                <a:close/>
                <a:moveTo>
                  <a:pt x="3602" y="4262"/>
                </a:moveTo>
                <a:lnTo>
                  <a:pt x="2452" y="4262"/>
                </a:lnTo>
                <a:lnTo>
                  <a:pt x="641" y="1114"/>
                </a:lnTo>
                <a:lnTo>
                  <a:pt x="629" y="1090"/>
                </a:lnTo>
                <a:lnTo>
                  <a:pt x="618" y="1068"/>
                </a:lnTo>
                <a:lnTo>
                  <a:pt x="608" y="1045"/>
                </a:lnTo>
                <a:lnTo>
                  <a:pt x="600" y="1022"/>
                </a:lnTo>
                <a:lnTo>
                  <a:pt x="593" y="997"/>
                </a:lnTo>
                <a:lnTo>
                  <a:pt x="587" y="973"/>
                </a:lnTo>
                <a:lnTo>
                  <a:pt x="582" y="950"/>
                </a:lnTo>
                <a:lnTo>
                  <a:pt x="579" y="926"/>
                </a:lnTo>
                <a:lnTo>
                  <a:pt x="576" y="901"/>
                </a:lnTo>
                <a:lnTo>
                  <a:pt x="575" y="877"/>
                </a:lnTo>
                <a:lnTo>
                  <a:pt x="575" y="853"/>
                </a:lnTo>
                <a:lnTo>
                  <a:pt x="576" y="829"/>
                </a:lnTo>
                <a:lnTo>
                  <a:pt x="579" y="804"/>
                </a:lnTo>
                <a:lnTo>
                  <a:pt x="582" y="781"/>
                </a:lnTo>
                <a:lnTo>
                  <a:pt x="586" y="758"/>
                </a:lnTo>
                <a:lnTo>
                  <a:pt x="592" y="734"/>
                </a:lnTo>
                <a:lnTo>
                  <a:pt x="599" y="711"/>
                </a:lnTo>
                <a:lnTo>
                  <a:pt x="607" y="688"/>
                </a:lnTo>
                <a:lnTo>
                  <a:pt x="615" y="666"/>
                </a:lnTo>
                <a:lnTo>
                  <a:pt x="625" y="644"/>
                </a:lnTo>
                <a:lnTo>
                  <a:pt x="636" y="622"/>
                </a:lnTo>
                <a:lnTo>
                  <a:pt x="648" y="602"/>
                </a:lnTo>
                <a:lnTo>
                  <a:pt x="661" y="581"/>
                </a:lnTo>
                <a:lnTo>
                  <a:pt x="675" y="562"/>
                </a:lnTo>
                <a:lnTo>
                  <a:pt x="690" y="543"/>
                </a:lnTo>
                <a:lnTo>
                  <a:pt x="707" y="524"/>
                </a:lnTo>
                <a:lnTo>
                  <a:pt x="724" y="506"/>
                </a:lnTo>
                <a:lnTo>
                  <a:pt x="742" y="489"/>
                </a:lnTo>
                <a:lnTo>
                  <a:pt x="761" y="474"/>
                </a:lnTo>
                <a:lnTo>
                  <a:pt x="781" y="458"/>
                </a:lnTo>
                <a:lnTo>
                  <a:pt x="801" y="444"/>
                </a:lnTo>
                <a:lnTo>
                  <a:pt x="823" y="430"/>
                </a:lnTo>
                <a:lnTo>
                  <a:pt x="845" y="418"/>
                </a:lnTo>
                <a:lnTo>
                  <a:pt x="869" y="407"/>
                </a:lnTo>
                <a:lnTo>
                  <a:pt x="892" y="397"/>
                </a:lnTo>
                <a:lnTo>
                  <a:pt x="915" y="389"/>
                </a:lnTo>
                <a:lnTo>
                  <a:pt x="938" y="382"/>
                </a:lnTo>
                <a:lnTo>
                  <a:pt x="962" y="376"/>
                </a:lnTo>
                <a:lnTo>
                  <a:pt x="986" y="371"/>
                </a:lnTo>
                <a:lnTo>
                  <a:pt x="1011" y="368"/>
                </a:lnTo>
                <a:lnTo>
                  <a:pt x="1035" y="365"/>
                </a:lnTo>
                <a:lnTo>
                  <a:pt x="1059" y="364"/>
                </a:lnTo>
                <a:lnTo>
                  <a:pt x="1083" y="364"/>
                </a:lnTo>
                <a:lnTo>
                  <a:pt x="1106" y="365"/>
                </a:lnTo>
                <a:lnTo>
                  <a:pt x="1130" y="368"/>
                </a:lnTo>
                <a:lnTo>
                  <a:pt x="1155" y="371"/>
                </a:lnTo>
                <a:lnTo>
                  <a:pt x="1178" y="376"/>
                </a:lnTo>
                <a:lnTo>
                  <a:pt x="1201" y="381"/>
                </a:lnTo>
                <a:lnTo>
                  <a:pt x="1224" y="388"/>
                </a:lnTo>
                <a:lnTo>
                  <a:pt x="1246" y="396"/>
                </a:lnTo>
                <a:lnTo>
                  <a:pt x="1268" y="404"/>
                </a:lnTo>
                <a:lnTo>
                  <a:pt x="1291" y="414"/>
                </a:lnTo>
                <a:lnTo>
                  <a:pt x="1312" y="425"/>
                </a:lnTo>
                <a:lnTo>
                  <a:pt x="1333" y="438"/>
                </a:lnTo>
                <a:lnTo>
                  <a:pt x="1353" y="451"/>
                </a:lnTo>
                <a:lnTo>
                  <a:pt x="1373" y="465"/>
                </a:lnTo>
                <a:lnTo>
                  <a:pt x="1392" y="480"/>
                </a:lnTo>
                <a:lnTo>
                  <a:pt x="1410" y="496"/>
                </a:lnTo>
                <a:lnTo>
                  <a:pt x="1427" y="513"/>
                </a:lnTo>
                <a:lnTo>
                  <a:pt x="1445" y="532"/>
                </a:lnTo>
                <a:lnTo>
                  <a:pt x="1461" y="551"/>
                </a:lnTo>
                <a:lnTo>
                  <a:pt x="1476" y="571"/>
                </a:lnTo>
                <a:lnTo>
                  <a:pt x="1490" y="591"/>
                </a:lnTo>
                <a:lnTo>
                  <a:pt x="1504" y="613"/>
                </a:lnTo>
                <a:lnTo>
                  <a:pt x="3602" y="4262"/>
                </a:lnTo>
                <a:close/>
                <a:moveTo>
                  <a:pt x="2387" y="4262"/>
                </a:moveTo>
                <a:lnTo>
                  <a:pt x="1237" y="4262"/>
                </a:lnTo>
                <a:lnTo>
                  <a:pt x="65" y="2226"/>
                </a:lnTo>
                <a:lnTo>
                  <a:pt x="53" y="2203"/>
                </a:lnTo>
                <a:lnTo>
                  <a:pt x="42" y="2181"/>
                </a:lnTo>
                <a:lnTo>
                  <a:pt x="33" y="2157"/>
                </a:lnTo>
                <a:lnTo>
                  <a:pt x="24" y="2134"/>
                </a:lnTo>
                <a:lnTo>
                  <a:pt x="17" y="2110"/>
                </a:lnTo>
                <a:lnTo>
                  <a:pt x="11" y="2086"/>
                </a:lnTo>
                <a:lnTo>
                  <a:pt x="7" y="2062"/>
                </a:lnTo>
                <a:lnTo>
                  <a:pt x="3" y="2038"/>
                </a:lnTo>
                <a:lnTo>
                  <a:pt x="1" y="2014"/>
                </a:lnTo>
                <a:lnTo>
                  <a:pt x="0" y="1990"/>
                </a:lnTo>
                <a:lnTo>
                  <a:pt x="0" y="1965"/>
                </a:lnTo>
                <a:lnTo>
                  <a:pt x="1" y="1941"/>
                </a:lnTo>
                <a:lnTo>
                  <a:pt x="3" y="1917"/>
                </a:lnTo>
                <a:lnTo>
                  <a:pt x="6" y="1894"/>
                </a:lnTo>
                <a:lnTo>
                  <a:pt x="11" y="1870"/>
                </a:lnTo>
                <a:lnTo>
                  <a:pt x="16" y="1846"/>
                </a:lnTo>
                <a:lnTo>
                  <a:pt x="23" y="1824"/>
                </a:lnTo>
                <a:lnTo>
                  <a:pt x="31" y="1801"/>
                </a:lnTo>
                <a:lnTo>
                  <a:pt x="40" y="1778"/>
                </a:lnTo>
                <a:lnTo>
                  <a:pt x="50" y="1756"/>
                </a:lnTo>
                <a:lnTo>
                  <a:pt x="61" y="1735"/>
                </a:lnTo>
                <a:lnTo>
                  <a:pt x="73" y="1715"/>
                </a:lnTo>
                <a:lnTo>
                  <a:pt x="86" y="1693"/>
                </a:lnTo>
                <a:lnTo>
                  <a:pt x="100" y="1674"/>
                </a:lnTo>
                <a:lnTo>
                  <a:pt x="115" y="1655"/>
                </a:lnTo>
                <a:lnTo>
                  <a:pt x="132" y="1637"/>
                </a:lnTo>
                <a:lnTo>
                  <a:pt x="148" y="1619"/>
                </a:lnTo>
                <a:lnTo>
                  <a:pt x="166" y="1602"/>
                </a:lnTo>
                <a:lnTo>
                  <a:pt x="185" y="1585"/>
                </a:lnTo>
                <a:lnTo>
                  <a:pt x="205" y="1570"/>
                </a:lnTo>
                <a:lnTo>
                  <a:pt x="226" y="1556"/>
                </a:lnTo>
                <a:lnTo>
                  <a:pt x="247" y="1543"/>
                </a:lnTo>
                <a:lnTo>
                  <a:pt x="271" y="1531"/>
                </a:lnTo>
                <a:lnTo>
                  <a:pt x="293" y="1520"/>
                </a:lnTo>
                <a:lnTo>
                  <a:pt x="316" y="1510"/>
                </a:lnTo>
                <a:lnTo>
                  <a:pt x="339" y="1502"/>
                </a:lnTo>
                <a:lnTo>
                  <a:pt x="363" y="1494"/>
                </a:lnTo>
                <a:lnTo>
                  <a:pt x="387" y="1488"/>
                </a:lnTo>
                <a:lnTo>
                  <a:pt x="411" y="1483"/>
                </a:lnTo>
                <a:lnTo>
                  <a:pt x="435" y="1480"/>
                </a:lnTo>
                <a:lnTo>
                  <a:pt x="459" y="1477"/>
                </a:lnTo>
                <a:lnTo>
                  <a:pt x="483" y="1476"/>
                </a:lnTo>
                <a:lnTo>
                  <a:pt x="507" y="1476"/>
                </a:lnTo>
                <a:lnTo>
                  <a:pt x="531" y="1477"/>
                </a:lnTo>
                <a:lnTo>
                  <a:pt x="555" y="1480"/>
                </a:lnTo>
                <a:lnTo>
                  <a:pt x="579" y="1483"/>
                </a:lnTo>
                <a:lnTo>
                  <a:pt x="602" y="1488"/>
                </a:lnTo>
                <a:lnTo>
                  <a:pt x="626" y="1493"/>
                </a:lnTo>
                <a:lnTo>
                  <a:pt x="648" y="1500"/>
                </a:lnTo>
                <a:lnTo>
                  <a:pt x="671" y="1509"/>
                </a:lnTo>
                <a:lnTo>
                  <a:pt x="693" y="1517"/>
                </a:lnTo>
                <a:lnTo>
                  <a:pt x="716" y="1527"/>
                </a:lnTo>
                <a:lnTo>
                  <a:pt x="737" y="1538"/>
                </a:lnTo>
                <a:lnTo>
                  <a:pt x="757" y="1550"/>
                </a:lnTo>
                <a:lnTo>
                  <a:pt x="778" y="1563"/>
                </a:lnTo>
                <a:lnTo>
                  <a:pt x="797" y="1577"/>
                </a:lnTo>
                <a:lnTo>
                  <a:pt x="816" y="1592"/>
                </a:lnTo>
                <a:lnTo>
                  <a:pt x="834" y="1609"/>
                </a:lnTo>
                <a:lnTo>
                  <a:pt x="853" y="1626"/>
                </a:lnTo>
                <a:lnTo>
                  <a:pt x="870" y="1644"/>
                </a:lnTo>
                <a:lnTo>
                  <a:pt x="885" y="1663"/>
                </a:lnTo>
                <a:lnTo>
                  <a:pt x="901" y="1683"/>
                </a:lnTo>
                <a:lnTo>
                  <a:pt x="915" y="1704"/>
                </a:lnTo>
                <a:lnTo>
                  <a:pt x="928" y="1726"/>
                </a:lnTo>
                <a:lnTo>
                  <a:pt x="2387" y="4262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6E3CB47-6ABA-C64F-AF91-871F96B1610F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A9BD81C-2CA0-C04F-A1A9-739E33D1D657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DC96F45E-ECAD-804B-A941-D76D114546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4379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8"/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6380481" y="1133410"/>
            <a:ext cx="5811519" cy="5724590"/>
          </a:xfrm>
          <a:custGeom>
            <a:avLst/>
            <a:gdLst>
              <a:gd name="T0" fmla="*/ 1001 w 4390"/>
              <a:gd name="T1" fmla="*/ 4326 h 4326"/>
              <a:gd name="T2" fmla="*/ 1648 w 4390"/>
              <a:gd name="T3" fmla="*/ 4326 h 4326"/>
              <a:gd name="T4" fmla="*/ 485 w 4390"/>
              <a:gd name="T5" fmla="*/ 2305 h 4326"/>
              <a:gd name="T6" fmla="*/ 0 w 4390"/>
              <a:gd name="T7" fmla="*/ 2586 h 4326"/>
              <a:gd name="T8" fmla="*/ 1001 w 4390"/>
              <a:gd name="T9" fmla="*/ 4326 h 4326"/>
              <a:gd name="T10" fmla="*/ 1714 w 4390"/>
              <a:gd name="T11" fmla="*/ 4326 h 4326"/>
              <a:gd name="T12" fmla="*/ 2360 w 4390"/>
              <a:gd name="T13" fmla="*/ 4326 h 4326"/>
              <a:gd name="T14" fmla="*/ 646 w 4390"/>
              <a:gd name="T15" fmla="*/ 1346 h 4326"/>
              <a:gd name="T16" fmla="*/ 161 w 4390"/>
              <a:gd name="T17" fmla="*/ 1628 h 4326"/>
              <a:gd name="T18" fmla="*/ 1714 w 4390"/>
              <a:gd name="T19" fmla="*/ 4326 h 4326"/>
              <a:gd name="T20" fmla="*/ 2426 w 4390"/>
              <a:gd name="T21" fmla="*/ 4326 h 4326"/>
              <a:gd name="T22" fmla="*/ 3073 w 4390"/>
              <a:gd name="T23" fmla="*/ 4326 h 4326"/>
              <a:gd name="T24" fmla="*/ 1405 w 4390"/>
              <a:gd name="T25" fmla="*/ 1426 h 4326"/>
              <a:gd name="T26" fmla="*/ 919 w 4390"/>
              <a:gd name="T27" fmla="*/ 1708 h 4326"/>
              <a:gd name="T28" fmla="*/ 2426 w 4390"/>
              <a:gd name="T29" fmla="*/ 4326 h 4326"/>
              <a:gd name="T30" fmla="*/ 3138 w 4390"/>
              <a:gd name="T31" fmla="*/ 4326 h 4326"/>
              <a:gd name="T32" fmla="*/ 3785 w 4390"/>
              <a:gd name="T33" fmla="*/ 4326 h 4326"/>
              <a:gd name="T34" fmla="*/ 1391 w 4390"/>
              <a:gd name="T35" fmla="*/ 165 h 4326"/>
              <a:gd name="T36" fmla="*/ 906 w 4390"/>
              <a:gd name="T37" fmla="*/ 446 h 4326"/>
              <a:gd name="T38" fmla="*/ 3138 w 4390"/>
              <a:gd name="T39" fmla="*/ 4326 h 4326"/>
              <a:gd name="T40" fmla="*/ 3850 w 4390"/>
              <a:gd name="T41" fmla="*/ 4326 h 4326"/>
              <a:gd name="T42" fmla="*/ 4390 w 4390"/>
              <a:gd name="T43" fmla="*/ 4326 h 4326"/>
              <a:gd name="T44" fmla="*/ 4390 w 4390"/>
              <a:gd name="T45" fmla="*/ 4138 h 4326"/>
              <a:gd name="T46" fmla="*/ 2430 w 4390"/>
              <a:gd name="T47" fmla="*/ 732 h 4326"/>
              <a:gd name="T48" fmla="*/ 1944 w 4390"/>
              <a:gd name="T49" fmla="*/ 1013 h 4326"/>
              <a:gd name="T50" fmla="*/ 3850 w 4390"/>
              <a:gd name="T51" fmla="*/ 4326 h 4326"/>
              <a:gd name="T52" fmla="*/ 4390 w 4390"/>
              <a:gd name="T53" fmla="*/ 4024 h 4326"/>
              <a:gd name="T54" fmla="*/ 4390 w 4390"/>
              <a:gd name="T55" fmla="*/ 2900 h 4326"/>
              <a:gd name="T56" fmla="*/ 2722 w 4390"/>
              <a:gd name="T57" fmla="*/ 0 h 4326"/>
              <a:gd name="T58" fmla="*/ 2236 w 4390"/>
              <a:gd name="T59" fmla="*/ 281 h 4326"/>
              <a:gd name="T60" fmla="*/ 4390 w 4390"/>
              <a:gd name="T61" fmla="*/ 4024 h 4326"/>
              <a:gd name="T62" fmla="*/ 4390 w 4390"/>
              <a:gd name="T63" fmla="*/ 2786 h 4326"/>
              <a:gd name="T64" fmla="*/ 4390 w 4390"/>
              <a:gd name="T65" fmla="*/ 1661 h 4326"/>
              <a:gd name="T66" fmla="*/ 3785 w 4390"/>
              <a:gd name="T67" fmla="*/ 611 h 4326"/>
              <a:gd name="T68" fmla="*/ 3300 w 4390"/>
              <a:gd name="T69" fmla="*/ 892 h 4326"/>
              <a:gd name="T70" fmla="*/ 4390 w 4390"/>
              <a:gd name="T71" fmla="*/ 2786 h 4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390" h="4326">
                <a:moveTo>
                  <a:pt x="1001" y="4326"/>
                </a:moveTo>
                <a:lnTo>
                  <a:pt x="1648" y="4326"/>
                </a:lnTo>
                <a:lnTo>
                  <a:pt x="485" y="2305"/>
                </a:lnTo>
                <a:lnTo>
                  <a:pt x="0" y="2586"/>
                </a:lnTo>
                <a:lnTo>
                  <a:pt x="1001" y="4326"/>
                </a:lnTo>
                <a:close/>
                <a:moveTo>
                  <a:pt x="1714" y="4326"/>
                </a:moveTo>
                <a:lnTo>
                  <a:pt x="2360" y="4326"/>
                </a:lnTo>
                <a:lnTo>
                  <a:pt x="646" y="1346"/>
                </a:lnTo>
                <a:lnTo>
                  <a:pt x="161" y="1628"/>
                </a:lnTo>
                <a:lnTo>
                  <a:pt x="1714" y="4326"/>
                </a:lnTo>
                <a:close/>
                <a:moveTo>
                  <a:pt x="2426" y="4326"/>
                </a:moveTo>
                <a:lnTo>
                  <a:pt x="3073" y="4326"/>
                </a:lnTo>
                <a:lnTo>
                  <a:pt x="1405" y="1426"/>
                </a:lnTo>
                <a:lnTo>
                  <a:pt x="919" y="1708"/>
                </a:lnTo>
                <a:lnTo>
                  <a:pt x="2426" y="4326"/>
                </a:lnTo>
                <a:close/>
                <a:moveTo>
                  <a:pt x="3138" y="4326"/>
                </a:moveTo>
                <a:lnTo>
                  <a:pt x="3785" y="4326"/>
                </a:lnTo>
                <a:lnTo>
                  <a:pt x="1391" y="165"/>
                </a:lnTo>
                <a:lnTo>
                  <a:pt x="906" y="446"/>
                </a:lnTo>
                <a:lnTo>
                  <a:pt x="3138" y="4326"/>
                </a:lnTo>
                <a:close/>
                <a:moveTo>
                  <a:pt x="3850" y="4326"/>
                </a:moveTo>
                <a:lnTo>
                  <a:pt x="4390" y="4326"/>
                </a:lnTo>
                <a:lnTo>
                  <a:pt x="4390" y="4138"/>
                </a:lnTo>
                <a:lnTo>
                  <a:pt x="2430" y="732"/>
                </a:lnTo>
                <a:lnTo>
                  <a:pt x="1944" y="1013"/>
                </a:lnTo>
                <a:lnTo>
                  <a:pt x="3850" y="4326"/>
                </a:lnTo>
                <a:close/>
                <a:moveTo>
                  <a:pt x="4390" y="4024"/>
                </a:moveTo>
                <a:lnTo>
                  <a:pt x="4390" y="2900"/>
                </a:lnTo>
                <a:lnTo>
                  <a:pt x="2722" y="0"/>
                </a:lnTo>
                <a:lnTo>
                  <a:pt x="2236" y="281"/>
                </a:lnTo>
                <a:lnTo>
                  <a:pt x="4390" y="4024"/>
                </a:lnTo>
                <a:close/>
                <a:moveTo>
                  <a:pt x="4390" y="2786"/>
                </a:moveTo>
                <a:lnTo>
                  <a:pt x="4390" y="1661"/>
                </a:lnTo>
                <a:lnTo>
                  <a:pt x="3785" y="611"/>
                </a:lnTo>
                <a:lnTo>
                  <a:pt x="3300" y="892"/>
                </a:lnTo>
                <a:lnTo>
                  <a:pt x="4390" y="2786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472EA4B-4D5B-B243-AF3E-213483C5A5EF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9F53F68-1E76-AC48-940F-C0194AA3F89A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B7D368AC-1436-E045-B5D1-9924496927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2990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9048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9"/>
          <p:cNvSpPr>
            <a:spLocks noGrp="1"/>
          </p:cNvSpPr>
          <p:nvPr>
            <p:ph type="pic" sz="quarter" idx="11"/>
          </p:nvPr>
        </p:nvSpPr>
        <p:spPr bwMode="auto">
          <a:xfrm>
            <a:off x="5770113" y="2321170"/>
            <a:ext cx="3851627" cy="3858567"/>
          </a:xfrm>
          <a:custGeom>
            <a:avLst/>
            <a:gdLst>
              <a:gd name="T0" fmla="*/ 1408 w 2554"/>
              <a:gd name="T1" fmla="*/ 6 h 2560"/>
              <a:gd name="T2" fmla="*/ 1596 w 2554"/>
              <a:gd name="T3" fmla="*/ 39 h 2560"/>
              <a:gd name="T4" fmla="*/ 1774 w 2554"/>
              <a:gd name="T5" fmla="*/ 100 h 2560"/>
              <a:gd name="T6" fmla="*/ 1939 w 2554"/>
              <a:gd name="T7" fmla="*/ 185 h 2560"/>
              <a:gd name="T8" fmla="*/ 2089 w 2554"/>
              <a:gd name="T9" fmla="*/ 292 h 2560"/>
              <a:gd name="T10" fmla="*/ 2222 w 2554"/>
              <a:gd name="T11" fmla="*/ 419 h 2560"/>
              <a:gd name="T12" fmla="*/ 2335 w 2554"/>
              <a:gd name="T13" fmla="*/ 564 h 2560"/>
              <a:gd name="T14" fmla="*/ 2428 w 2554"/>
              <a:gd name="T15" fmla="*/ 725 h 2560"/>
              <a:gd name="T16" fmla="*/ 2497 w 2554"/>
              <a:gd name="T17" fmla="*/ 899 h 2560"/>
              <a:gd name="T18" fmla="*/ 2539 w 2554"/>
              <a:gd name="T19" fmla="*/ 1085 h 2560"/>
              <a:gd name="T20" fmla="*/ 2554 w 2554"/>
              <a:gd name="T21" fmla="*/ 1280 h 2560"/>
              <a:gd name="T22" fmla="*/ 2539 w 2554"/>
              <a:gd name="T23" fmla="*/ 1475 h 2560"/>
              <a:gd name="T24" fmla="*/ 2497 w 2554"/>
              <a:gd name="T25" fmla="*/ 1661 h 2560"/>
              <a:gd name="T26" fmla="*/ 2428 w 2554"/>
              <a:gd name="T27" fmla="*/ 1835 h 2560"/>
              <a:gd name="T28" fmla="*/ 2335 w 2554"/>
              <a:gd name="T29" fmla="*/ 1996 h 2560"/>
              <a:gd name="T30" fmla="*/ 2222 w 2554"/>
              <a:gd name="T31" fmla="*/ 2141 h 2560"/>
              <a:gd name="T32" fmla="*/ 2089 w 2554"/>
              <a:gd name="T33" fmla="*/ 2268 h 2560"/>
              <a:gd name="T34" fmla="*/ 1939 w 2554"/>
              <a:gd name="T35" fmla="*/ 2375 h 2560"/>
              <a:gd name="T36" fmla="*/ 1774 w 2554"/>
              <a:gd name="T37" fmla="*/ 2460 h 2560"/>
              <a:gd name="T38" fmla="*/ 1596 w 2554"/>
              <a:gd name="T39" fmla="*/ 2520 h 2560"/>
              <a:gd name="T40" fmla="*/ 1408 w 2554"/>
              <a:gd name="T41" fmla="*/ 2554 h 2560"/>
              <a:gd name="T42" fmla="*/ 1211 w 2554"/>
              <a:gd name="T43" fmla="*/ 2559 h 2560"/>
              <a:gd name="T44" fmla="*/ 1019 w 2554"/>
              <a:gd name="T45" fmla="*/ 2535 h 2560"/>
              <a:gd name="T46" fmla="*/ 838 w 2554"/>
              <a:gd name="T47" fmla="*/ 2482 h 2560"/>
              <a:gd name="T48" fmla="*/ 668 w 2554"/>
              <a:gd name="T49" fmla="*/ 2406 h 2560"/>
              <a:gd name="T50" fmla="*/ 513 w 2554"/>
              <a:gd name="T51" fmla="*/ 2306 h 2560"/>
              <a:gd name="T52" fmla="*/ 374 w 2554"/>
              <a:gd name="T53" fmla="*/ 2185 h 2560"/>
              <a:gd name="T54" fmla="*/ 254 w 2554"/>
              <a:gd name="T55" fmla="*/ 2046 h 2560"/>
              <a:gd name="T56" fmla="*/ 154 w 2554"/>
              <a:gd name="T57" fmla="*/ 1891 h 2560"/>
              <a:gd name="T58" fmla="*/ 78 w 2554"/>
              <a:gd name="T59" fmla="*/ 1720 h 2560"/>
              <a:gd name="T60" fmla="*/ 26 w 2554"/>
              <a:gd name="T61" fmla="*/ 1538 h 2560"/>
              <a:gd name="T62" fmla="*/ 1 w 2554"/>
              <a:gd name="T63" fmla="*/ 1346 h 2560"/>
              <a:gd name="T64" fmla="*/ 6 w 2554"/>
              <a:gd name="T65" fmla="*/ 1150 h 2560"/>
              <a:gd name="T66" fmla="*/ 40 w 2554"/>
              <a:gd name="T67" fmla="*/ 960 h 2560"/>
              <a:gd name="T68" fmla="*/ 100 w 2554"/>
              <a:gd name="T69" fmla="*/ 782 h 2560"/>
              <a:gd name="T70" fmla="*/ 185 w 2554"/>
              <a:gd name="T71" fmla="*/ 616 h 2560"/>
              <a:gd name="T72" fmla="*/ 292 w 2554"/>
              <a:gd name="T73" fmla="*/ 466 h 2560"/>
              <a:gd name="T74" fmla="*/ 418 w 2554"/>
              <a:gd name="T75" fmla="*/ 332 h 2560"/>
              <a:gd name="T76" fmla="*/ 563 w 2554"/>
              <a:gd name="T77" fmla="*/ 218 h 2560"/>
              <a:gd name="T78" fmla="*/ 723 w 2554"/>
              <a:gd name="T79" fmla="*/ 125 h 2560"/>
              <a:gd name="T80" fmla="*/ 897 w 2554"/>
              <a:gd name="T81" fmla="*/ 57 h 2560"/>
              <a:gd name="T82" fmla="*/ 1083 w 2554"/>
              <a:gd name="T83" fmla="*/ 14 h 2560"/>
              <a:gd name="T84" fmla="*/ 1276 w 2554"/>
              <a:gd name="T85" fmla="*/ 0 h 2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554" h="2560">
                <a:moveTo>
                  <a:pt x="1276" y="0"/>
                </a:moveTo>
                <a:lnTo>
                  <a:pt x="1343" y="1"/>
                </a:lnTo>
                <a:lnTo>
                  <a:pt x="1408" y="6"/>
                </a:lnTo>
                <a:lnTo>
                  <a:pt x="1471" y="14"/>
                </a:lnTo>
                <a:lnTo>
                  <a:pt x="1534" y="25"/>
                </a:lnTo>
                <a:lnTo>
                  <a:pt x="1596" y="39"/>
                </a:lnTo>
                <a:lnTo>
                  <a:pt x="1657" y="57"/>
                </a:lnTo>
                <a:lnTo>
                  <a:pt x="1716" y="77"/>
                </a:lnTo>
                <a:lnTo>
                  <a:pt x="1774" y="100"/>
                </a:lnTo>
                <a:lnTo>
                  <a:pt x="1831" y="125"/>
                </a:lnTo>
                <a:lnTo>
                  <a:pt x="1886" y="154"/>
                </a:lnTo>
                <a:lnTo>
                  <a:pt x="1939" y="185"/>
                </a:lnTo>
                <a:lnTo>
                  <a:pt x="1991" y="218"/>
                </a:lnTo>
                <a:lnTo>
                  <a:pt x="2041" y="254"/>
                </a:lnTo>
                <a:lnTo>
                  <a:pt x="2089" y="292"/>
                </a:lnTo>
                <a:lnTo>
                  <a:pt x="2136" y="332"/>
                </a:lnTo>
                <a:lnTo>
                  <a:pt x="2180" y="375"/>
                </a:lnTo>
                <a:lnTo>
                  <a:pt x="2222" y="419"/>
                </a:lnTo>
                <a:lnTo>
                  <a:pt x="2262" y="466"/>
                </a:lnTo>
                <a:lnTo>
                  <a:pt x="2300" y="514"/>
                </a:lnTo>
                <a:lnTo>
                  <a:pt x="2335" y="564"/>
                </a:lnTo>
                <a:lnTo>
                  <a:pt x="2369" y="616"/>
                </a:lnTo>
                <a:lnTo>
                  <a:pt x="2400" y="670"/>
                </a:lnTo>
                <a:lnTo>
                  <a:pt x="2428" y="725"/>
                </a:lnTo>
                <a:lnTo>
                  <a:pt x="2454" y="782"/>
                </a:lnTo>
                <a:lnTo>
                  <a:pt x="2476" y="840"/>
                </a:lnTo>
                <a:lnTo>
                  <a:pt x="2497" y="899"/>
                </a:lnTo>
                <a:lnTo>
                  <a:pt x="2514" y="960"/>
                </a:lnTo>
                <a:lnTo>
                  <a:pt x="2528" y="1022"/>
                </a:lnTo>
                <a:lnTo>
                  <a:pt x="2539" y="1085"/>
                </a:lnTo>
                <a:lnTo>
                  <a:pt x="2547" y="1150"/>
                </a:lnTo>
                <a:lnTo>
                  <a:pt x="2553" y="1214"/>
                </a:lnTo>
                <a:lnTo>
                  <a:pt x="2554" y="1280"/>
                </a:lnTo>
                <a:lnTo>
                  <a:pt x="2553" y="1346"/>
                </a:lnTo>
                <a:lnTo>
                  <a:pt x="2547" y="1411"/>
                </a:lnTo>
                <a:lnTo>
                  <a:pt x="2539" y="1475"/>
                </a:lnTo>
                <a:lnTo>
                  <a:pt x="2528" y="1538"/>
                </a:lnTo>
                <a:lnTo>
                  <a:pt x="2514" y="1600"/>
                </a:lnTo>
                <a:lnTo>
                  <a:pt x="2497" y="1661"/>
                </a:lnTo>
                <a:lnTo>
                  <a:pt x="2476" y="1720"/>
                </a:lnTo>
                <a:lnTo>
                  <a:pt x="2454" y="1778"/>
                </a:lnTo>
                <a:lnTo>
                  <a:pt x="2428" y="1835"/>
                </a:lnTo>
                <a:lnTo>
                  <a:pt x="2400" y="1891"/>
                </a:lnTo>
                <a:lnTo>
                  <a:pt x="2369" y="1944"/>
                </a:lnTo>
                <a:lnTo>
                  <a:pt x="2335" y="1996"/>
                </a:lnTo>
                <a:lnTo>
                  <a:pt x="2300" y="2046"/>
                </a:lnTo>
                <a:lnTo>
                  <a:pt x="2262" y="2094"/>
                </a:lnTo>
                <a:lnTo>
                  <a:pt x="2222" y="2141"/>
                </a:lnTo>
                <a:lnTo>
                  <a:pt x="2180" y="2185"/>
                </a:lnTo>
                <a:lnTo>
                  <a:pt x="2136" y="2228"/>
                </a:lnTo>
                <a:lnTo>
                  <a:pt x="2089" y="2268"/>
                </a:lnTo>
                <a:lnTo>
                  <a:pt x="2041" y="2306"/>
                </a:lnTo>
                <a:lnTo>
                  <a:pt x="1991" y="2341"/>
                </a:lnTo>
                <a:lnTo>
                  <a:pt x="1939" y="2375"/>
                </a:lnTo>
                <a:lnTo>
                  <a:pt x="1886" y="2406"/>
                </a:lnTo>
                <a:lnTo>
                  <a:pt x="1831" y="2434"/>
                </a:lnTo>
                <a:lnTo>
                  <a:pt x="1774" y="2460"/>
                </a:lnTo>
                <a:lnTo>
                  <a:pt x="1716" y="2482"/>
                </a:lnTo>
                <a:lnTo>
                  <a:pt x="1657" y="2503"/>
                </a:lnTo>
                <a:lnTo>
                  <a:pt x="1596" y="2520"/>
                </a:lnTo>
                <a:lnTo>
                  <a:pt x="1534" y="2535"/>
                </a:lnTo>
                <a:lnTo>
                  <a:pt x="1471" y="2546"/>
                </a:lnTo>
                <a:lnTo>
                  <a:pt x="1408" y="2554"/>
                </a:lnTo>
                <a:lnTo>
                  <a:pt x="1343" y="2559"/>
                </a:lnTo>
                <a:lnTo>
                  <a:pt x="1276" y="2560"/>
                </a:lnTo>
                <a:lnTo>
                  <a:pt x="1211" y="2559"/>
                </a:lnTo>
                <a:lnTo>
                  <a:pt x="1146" y="2554"/>
                </a:lnTo>
                <a:lnTo>
                  <a:pt x="1083" y="2546"/>
                </a:lnTo>
                <a:lnTo>
                  <a:pt x="1019" y="2535"/>
                </a:lnTo>
                <a:lnTo>
                  <a:pt x="957" y="2520"/>
                </a:lnTo>
                <a:lnTo>
                  <a:pt x="897" y="2503"/>
                </a:lnTo>
                <a:lnTo>
                  <a:pt x="838" y="2482"/>
                </a:lnTo>
                <a:lnTo>
                  <a:pt x="780" y="2460"/>
                </a:lnTo>
                <a:lnTo>
                  <a:pt x="723" y="2434"/>
                </a:lnTo>
                <a:lnTo>
                  <a:pt x="668" y="2406"/>
                </a:lnTo>
                <a:lnTo>
                  <a:pt x="615" y="2375"/>
                </a:lnTo>
                <a:lnTo>
                  <a:pt x="563" y="2341"/>
                </a:lnTo>
                <a:lnTo>
                  <a:pt x="513" y="2306"/>
                </a:lnTo>
                <a:lnTo>
                  <a:pt x="465" y="2268"/>
                </a:lnTo>
                <a:lnTo>
                  <a:pt x="418" y="2228"/>
                </a:lnTo>
                <a:lnTo>
                  <a:pt x="374" y="2185"/>
                </a:lnTo>
                <a:lnTo>
                  <a:pt x="331" y="2141"/>
                </a:lnTo>
                <a:lnTo>
                  <a:pt x="292" y="2094"/>
                </a:lnTo>
                <a:lnTo>
                  <a:pt x="254" y="2046"/>
                </a:lnTo>
                <a:lnTo>
                  <a:pt x="218" y="1996"/>
                </a:lnTo>
                <a:lnTo>
                  <a:pt x="185" y="1944"/>
                </a:lnTo>
                <a:lnTo>
                  <a:pt x="154" y="1891"/>
                </a:lnTo>
                <a:lnTo>
                  <a:pt x="125" y="1835"/>
                </a:lnTo>
                <a:lnTo>
                  <a:pt x="100" y="1778"/>
                </a:lnTo>
                <a:lnTo>
                  <a:pt x="78" y="1720"/>
                </a:lnTo>
                <a:lnTo>
                  <a:pt x="57" y="1661"/>
                </a:lnTo>
                <a:lnTo>
                  <a:pt x="40" y="1600"/>
                </a:lnTo>
                <a:lnTo>
                  <a:pt x="26" y="1538"/>
                </a:lnTo>
                <a:lnTo>
                  <a:pt x="14" y="1475"/>
                </a:lnTo>
                <a:lnTo>
                  <a:pt x="6" y="1411"/>
                </a:lnTo>
                <a:lnTo>
                  <a:pt x="1" y="1346"/>
                </a:lnTo>
                <a:lnTo>
                  <a:pt x="0" y="1280"/>
                </a:lnTo>
                <a:lnTo>
                  <a:pt x="1" y="1214"/>
                </a:lnTo>
                <a:lnTo>
                  <a:pt x="6" y="1150"/>
                </a:lnTo>
                <a:lnTo>
                  <a:pt x="14" y="1085"/>
                </a:lnTo>
                <a:lnTo>
                  <a:pt x="26" y="1022"/>
                </a:lnTo>
                <a:lnTo>
                  <a:pt x="40" y="960"/>
                </a:lnTo>
                <a:lnTo>
                  <a:pt x="57" y="899"/>
                </a:lnTo>
                <a:lnTo>
                  <a:pt x="78" y="840"/>
                </a:lnTo>
                <a:lnTo>
                  <a:pt x="100" y="782"/>
                </a:lnTo>
                <a:lnTo>
                  <a:pt x="125" y="725"/>
                </a:lnTo>
                <a:lnTo>
                  <a:pt x="154" y="670"/>
                </a:lnTo>
                <a:lnTo>
                  <a:pt x="185" y="616"/>
                </a:lnTo>
                <a:lnTo>
                  <a:pt x="218" y="564"/>
                </a:lnTo>
                <a:lnTo>
                  <a:pt x="254" y="514"/>
                </a:lnTo>
                <a:lnTo>
                  <a:pt x="292" y="466"/>
                </a:lnTo>
                <a:lnTo>
                  <a:pt x="331" y="419"/>
                </a:lnTo>
                <a:lnTo>
                  <a:pt x="374" y="375"/>
                </a:lnTo>
                <a:lnTo>
                  <a:pt x="418" y="332"/>
                </a:lnTo>
                <a:lnTo>
                  <a:pt x="465" y="292"/>
                </a:lnTo>
                <a:lnTo>
                  <a:pt x="513" y="254"/>
                </a:lnTo>
                <a:lnTo>
                  <a:pt x="563" y="218"/>
                </a:lnTo>
                <a:lnTo>
                  <a:pt x="615" y="185"/>
                </a:lnTo>
                <a:lnTo>
                  <a:pt x="668" y="154"/>
                </a:lnTo>
                <a:lnTo>
                  <a:pt x="723" y="125"/>
                </a:lnTo>
                <a:lnTo>
                  <a:pt x="780" y="100"/>
                </a:lnTo>
                <a:lnTo>
                  <a:pt x="838" y="77"/>
                </a:lnTo>
                <a:lnTo>
                  <a:pt x="897" y="57"/>
                </a:lnTo>
                <a:lnTo>
                  <a:pt x="957" y="39"/>
                </a:lnTo>
                <a:lnTo>
                  <a:pt x="1019" y="25"/>
                </a:lnTo>
                <a:lnTo>
                  <a:pt x="1083" y="14"/>
                </a:lnTo>
                <a:lnTo>
                  <a:pt x="1146" y="6"/>
                </a:lnTo>
                <a:lnTo>
                  <a:pt x="1211" y="1"/>
                </a:lnTo>
                <a:lnTo>
                  <a:pt x="1276" y="0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3" name="Freeform 6"/>
          <p:cNvSpPr>
            <a:spLocks noGrp="1"/>
          </p:cNvSpPr>
          <p:nvPr>
            <p:ph type="pic" sz="quarter" idx="10"/>
          </p:nvPr>
        </p:nvSpPr>
        <p:spPr bwMode="auto">
          <a:xfrm>
            <a:off x="7556480" y="0"/>
            <a:ext cx="4635520" cy="6858000"/>
          </a:xfrm>
          <a:custGeom>
            <a:avLst/>
            <a:gdLst>
              <a:gd name="T0" fmla="*/ 1411 w 3076"/>
              <a:gd name="T1" fmla="*/ 4552 h 4552"/>
              <a:gd name="T2" fmla="*/ 1167 w 3076"/>
              <a:gd name="T3" fmla="*/ 3681 h 4552"/>
              <a:gd name="T4" fmla="*/ 1201 w 3076"/>
              <a:gd name="T5" fmla="*/ 3635 h 4552"/>
              <a:gd name="T6" fmla="*/ 1235 w 3076"/>
              <a:gd name="T7" fmla="*/ 3587 h 4552"/>
              <a:gd name="T8" fmla="*/ 1267 w 3076"/>
              <a:gd name="T9" fmla="*/ 3538 h 4552"/>
              <a:gd name="T10" fmla="*/ 1296 w 3076"/>
              <a:gd name="T11" fmla="*/ 3487 h 4552"/>
              <a:gd name="T12" fmla="*/ 1323 w 3076"/>
              <a:gd name="T13" fmla="*/ 3435 h 4552"/>
              <a:gd name="T14" fmla="*/ 1348 w 3076"/>
              <a:gd name="T15" fmla="*/ 3382 h 4552"/>
              <a:gd name="T16" fmla="*/ 1371 w 3076"/>
              <a:gd name="T17" fmla="*/ 3327 h 4552"/>
              <a:gd name="T18" fmla="*/ 1391 w 3076"/>
              <a:gd name="T19" fmla="*/ 3271 h 4552"/>
              <a:gd name="T20" fmla="*/ 1409 w 3076"/>
              <a:gd name="T21" fmla="*/ 3215 h 4552"/>
              <a:gd name="T22" fmla="*/ 1425 w 3076"/>
              <a:gd name="T23" fmla="*/ 3157 h 4552"/>
              <a:gd name="T24" fmla="*/ 1438 w 3076"/>
              <a:gd name="T25" fmla="*/ 3098 h 4552"/>
              <a:gd name="T26" fmla="*/ 1449 w 3076"/>
              <a:gd name="T27" fmla="*/ 3038 h 4552"/>
              <a:gd name="T28" fmla="*/ 1457 w 3076"/>
              <a:gd name="T29" fmla="*/ 2978 h 4552"/>
              <a:gd name="T30" fmla="*/ 1462 w 3076"/>
              <a:gd name="T31" fmla="*/ 2916 h 4552"/>
              <a:gd name="T32" fmla="*/ 1465 w 3076"/>
              <a:gd name="T33" fmla="*/ 2854 h 4552"/>
              <a:gd name="T34" fmla="*/ 1464 w 3076"/>
              <a:gd name="T35" fmla="*/ 2764 h 4552"/>
              <a:gd name="T36" fmla="*/ 1455 w 3076"/>
              <a:gd name="T37" fmla="*/ 2649 h 4552"/>
              <a:gd name="T38" fmla="*/ 1436 w 3076"/>
              <a:gd name="T39" fmla="*/ 2535 h 4552"/>
              <a:gd name="T40" fmla="*/ 1407 w 3076"/>
              <a:gd name="T41" fmla="*/ 2426 h 4552"/>
              <a:gd name="T42" fmla="*/ 1372 w 3076"/>
              <a:gd name="T43" fmla="*/ 2319 h 4552"/>
              <a:gd name="T44" fmla="*/ 1327 w 3076"/>
              <a:gd name="T45" fmla="*/ 2218 h 4552"/>
              <a:gd name="T46" fmla="*/ 1274 w 3076"/>
              <a:gd name="T47" fmla="*/ 2121 h 4552"/>
              <a:gd name="T48" fmla="*/ 1214 w 3076"/>
              <a:gd name="T49" fmla="*/ 2028 h 4552"/>
              <a:gd name="T50" fmla="*/ 1147 w 3076"/>
              <a:gd name="T51" fmla="*/ 1941 h 4552"/>
              <a:gd name="T52" fmla="*/ 1074 w 3076"/>
              <a:gd name="T53" fmla="*/ 1859 h 4552"/>
              <a:gd name="T54" fmla="*/ 994 w 3076"/>
              <a:gd name="T55" fmla="*/ 1785 h 4552"/>
              <a:gd name="T56" fmla="*/ 909 w 3076"/>
              <a:gd name="T57" fmla="*/ 1715 h 4552"/>
              <a:gd name="T58" fmla="*/ 818 w 3076"/>
              <a:gd name="T59" fmla="*/ 1654 h 4552"/>
              <a:gd name="T60" fmla="*/ 722 w 3076"/>
              <a:gd name="T61" fmla="*/ 1599 h 4552"/>
              <a:gd name="T62" fmla="*/ 622 w 3076"/>
              <a:gd name="T63" fmla="*/ 1552 h 4552"/>
              <a:gd name="T64" fmla="*/ 517 w 3076"/>
              <a:gd name="T65" fmla="*/ 1513 h 4552"/>
              <a:gd name="T66" fmla="*/ 0 w 3076"/>
              <a:gd name="T67" fmla="*/ 0 h 4552"/>
              <a:gd name="T68" fmla="*/ 3076 w 3076"/>
              <a:gd name="T69" fmla="*/ 2488 h 4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76" h="4552">
                <a:moveTo>
                  <a:pt x="3076" y="4552"/>
                </a:moveTo>
                <a:lnTo>
                  <a:pt x="1411" y="4552"/>
                </a:lnTo>
                <a:lnTo>
                  <a:pt x="1148" y="3703"/>
                </a:lnTo>
                <a:lnTo>
                  <a:pt x="1167" y="3681"/>
                </a:lnTo>
                <a:lnTo>
                  <a:pt x="1184" y="3657"/>
                </a:lnTo>
                <a:lnTo>
                  <a:pt x="1201" y="3635"/>
                </a:lnTo>
                <a:lnTo>
                  <a:pt x="1219" y="3610"/>
                </a:lnTo>
                <a:lnTo>
                  <a:pt x="1235" y="3587"/>
                </a:lnTo>
                <a:lnTo>
                  <a:pt x="1251" y="3562"/>
                </a:lnTo>
                <a:lnTo>
                  <a:pt x="1267" y="3538"/>
                </a:lnTo>
                <a:lnTo>
                  <a:pt x="1281" y="3512"/>
                </a:lnTo>
                <a:lnTo>
                  <a:pt x="1296" y="3487"/>
                </a:lnTo>
                <a:lnTo>
                  <a:pt x="1309" y="3461"/>
                </a:lnTo>
                <a:lnTo>
                  <a:pt x="1323" y="3435"/>
                </a:lnTo>
                <a:lnTo>
                  <a:pt x="1336" y="3408"/>
                </a:lnTo>
                <a:lnTo>
                  <a:pt x="1348" y="3382"/>
                </a:lnTo>
                <a:lnTo>
                  <a:pt x="1359" y="3354"/>
                </a:lnTo>
                <a:lnTo>
                  <a:pt x="1371" y="3327"/>
                </a:lnTo>
                <a:lnTo>
                  <a:pt x="1382" y="3300"/>
                </a:lnTo>
                <a:lnTo>
                  <a:pt x="1391" y="3271"/>
                </a:lnTo>
                <a:lnTo>
                  <a:pt x="1400" y="3244"/>
                </a:lnTo>
                <a:lnTo>
                  <a:pt x="1409" y="3215"/>
                </a:lnTo>
                <a:lnTo>
                  <a:pt x="1418" y="3186"/>
                </a:lnTo>
                <a:lnTo>
                  <a:pt x="1425" y="3157"/>
                </a:lnTo>
                <a:lnTo>
                  <a:pt x="1432" y="3128"/>
                </a:lnTo>
                <a:lnTo>
                  <a:pt x="1438" y="3098"/>
                </a:lnTo>
                <a:lnTo>
                  <a:pt x="1444" y="3069"/>
                </a:lnTo>
                <a:lnTo>
                  <a:pt x="1449" y="3038"/>
                </a:lnTo>
                <a:lnTo>
                  <a:pt x="1453" y="3008"/>
                </a:lnTo>
                <a:lnTo>
                  <a:pt x="1457" y="2978"/>
                </a:lnTo>
                <a:lnTo>
                  <a:pt x="1460" y="2947"/>
                </a:lnTo>
                <a:lnTo>
                  <a:pt x="1462" y="2916"/>
                </a:lnTo>
                <a:lnTo>
                  <a:pt x="1464" y="2886"/>
                </a:lnTo>
                <a:lnTo>
                  <a:pt x="1465" y="2854"/>
                </a:lnTo>
                <a:lnTo>
                  <a:pt x="1465" y="2823"/>
                </a:lnTo>
                <a:lnTo>
                  <a:pt x="1464" y="2764"/>
                </a:lnTo>
                <a:lnTo>
                  <a:pt x="1461" y="2706"/>
                </a:lnTo>
                <a:lnTo>
                  <a:pt x="1455" y="2649"/>
                </a:lnTo>
                <a:lnTo>
                  <a:pt x="1446" y="2591"/>
                </a:lnTo>
                <a:lnTo>
                  <a:pt x="1436" y="2535"/>
                </a:lnTo>
                <a:lnTo>
                  <a:pt x="1423" y="2480"/>
                </a:lnTo>
                <a:lnTo>
                  <a:pt x="1407" y="2426"/>
                </a:lnTo>
                <a:lnTo>
                  <a:pt x="1391" y="2373"/>
                </a:lnTo>
                <a:lnTo>
                  <a:pt x="1372" y="2319"/>
                </a:lnTo>
                <a:lnTo>
                  <a:pt x="1350" y="2268"/>
                </a:lnTo>
                <a:lnTo>
                  <a:pt x="1327" y="2218"/>
                </a:lnTo>
                <a:lnTo>
                  <a:pt x="1301" y="2169"/>
                </a:lnTo>
                <a:lnTo>
                  <a:pt x="1274" y="2121"/>
                </a:lnTo>
                <a:lnTo>
                  <a:pt x="1245" y="2074"/>
                </a:lnTo>
                <a:lnTo>
                  <a:pt x="1214" y="2028"/>
                </a:lnTo>
                <a:lnTo>
                  <a:pt x="1181" y="1984"/>
                </a:lnTo>
                <a:lnTo>
                  <a:pt x="1147" y="1941"/>
                </a:lnTo>
                <a:lnTo>
                  <a:pt x="1112" y="1899"/>
                </a:lnTo>
                <a:lnTo>
                  <a:pt x="1074" y="1859"/>
                </a:lnTo>
                <a:lnTo>
                  <a:pt x="1035" y="1822"/>
                </a:lnTo>
                <a:lnTo>
                  <a:pt x="994" y="1785"/>
                </a:lnTo>
                <a:lnTo>
                  <a:pt x="953" y="1749"/>
                </a:lnTo>
                <a:lnTo>
                  <a:pt x="909" y="1715"/>
                </a:lnTo>
                <a:lnTo>
                  <a:pt x="864" y="1684"/>
                </a:lnTo>
                <a:lnTo>
                  <a:pt x="818" y="1654"/>
                </a:lnTo>
                <a:lnTo>
                  <a:pt x="771" y="1625"/>
                </a:lnTo>
                <a:lnTo>
                  <a:pt x="722" y="1599"/>
                </a:lnTo>
                <a:lnTo>
                  <a:pt x="672" y="1574"/>
                </a:lnTo>
                <a:lnTo>
                  <a:pt x="622" y="1552"/>
                </a:lnTo>
                <a:lnTo>
                  <a:pt x="570" y="1531"/>
                </a:lnTo>
                <a:lnTo>
                  <a:pt x="517" y="1513"/>
                </a:lnTo>
                <a:lnTo>
                  <a:pt x="463" y="1497"/>
                </a:lnTo>
                <a:lnTo>
                  <a:pt x="0" y="0"/>
                </a:lnTo>
                <a:lnTo>
                  <a:pt x="2304" y="0"/>
                </a:lnTo>
                <a:lnTo>
                  <a:pt x="3076" y="2488"/>
                </a:lnTo>
                <a:lnTo>
                  <a:pt x="3076" y="4552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06FE8F7-B262-B742-9338-8618DB3B9088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233D55A-95CC-C64C-8D8A-7A84B47C5653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301653FE-4B5A-3641-BAC3-B47591A300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5278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8"/>
          <p:cNvSpPr>
            <a:spLocks noGrp="1"/>
          </p:cNvSpPr>
          <p:nvPr>
            <p:ph type="pic" sz="quarter" idx="10"/>
          </p:nvPr>
        </p:nvSpPr>
        <p:spPr bwMode="auto">
          <a:xfrm>
            <a:off x="7556480" y="0"/>
            <a:ext cx="4635520" cy="6858000"/>
          </a:xfrm>
          <a:custGeom>
            <a:avLst/>
            <a:gdLst>
              <a:gd name="T0" fmla="*/ 3077 w 3077"/>
              <a:gd name="T1" fmla="*/ 4552 h 4552"/>
              <a:gd name="T2" fmla="*/ 1412 w 3077"/>
              <a:gd name="T3" fmla="*/ 4552 h 4552"/>
              <a:gd name="T4" fmla="*/ 1136 w 3077"/>
              <a:gd name="T5" fmla="*/ 3664 h 4552"/>
              <a:gd name="T6" fmla="*/ 1183 w 3077"/>
              <a:gd name="T7" fmla="*/ 3637 h 4552"/>
              <a:gd name="T8" fmla="*/ 1201 w 3077"/>
              <a:gd name="T9" fmla="*/ 3626 h 4552"/>
              <a:gd name="T10" fmla="*/ 1218 w 3077"/>
              <a:gd name="T11" fmla="*/ 3614 h 4552"/>
              <a:gd name="T12" fmla="*/ 1234 w 3077"/>
              <a:gd name="T13" fmla="*/ 3600 h 4552"/>
              <a:gd name="T14" fmla="*/ 1249 w 3077"/>
              <a:gd name="T15" fmla="*/ 3586 h 4552"/>
              <a:gd name="T16" fmla="*/ 1262 w 3077"/>
              <a:gd name="T17" fmla="*/ 3571 h 4552"/>
              <a:gd name="T18" fmla="*/ 1276 w 3077"/>
              <a:gd name="T19" fmla="*/ 3555 h 4552"/>
              <a:gd name="T20" fmla="*/ 1288 w 3077"/>
              <a:gd name="T21" fmla="*/ 3538 h 4552"/>
              <a:gd name="T22" fmla="*/ 1299 w 3077"/>
              <a:gd name="T23" fmla="*/ 3521 h 4552"/>
              <a:gd name="T24" fmla="*/ 1308 w 3077"/>
              <a:gd name="T25" fmla="*/ 3503 h 4552"/>
              <a:gd name="T26" fmla="*/ 1316 w 3077"/>
              <a:gd name="T27" fmla="*/ 3484 h 4552"/>
              <a:gd name="T28" fmla="*/ 1324 w 3077"/>
              <a:gd name="T29" fmla="*/ 3464 h 4552"/>
              <a:gd name="T30" fmla="*/ 1330 w 3077"/>
              <a:gd name="T31" fmla="*/ 3445 h 4552"/>
              <a:gd name="T32" fmla="*/ 1335 w 3077"/>
              <a:gd name="T33" fmla="*/ 3424 h 4552"/>
              <a:gd name="T34" fmla="*/ 1338 w 3077"/>
              <a:gd name="T35" fmla="*/ 3404 h 4552"/>
              <a:gd name="T36" fmla="*/ 1340 w 3077"/>
              <a:gd name="T37" fmla="*/ 3384 h 4552"/>
              <a:gd name="T38" fmla="*/ 1341 w 3077"/>
              <a:gd name="T39" fmla="*/ 3362 h 4552"/>
              <a:gd name="T40" fmla="*/ 1341 w 3077"/>
              <a:gd name="T41" fmla="*/ 2284 h 4552"/>
              <a:gd name="T42" fmla="*/ 1340 w 3077"/>
              <a:gd name="T43" fmla="*/ 2262 h 4552"/>
              <a:gd name="T44" fmla="*/ 1338 w 3077"/>
              <a:gd name="T45" fmla="*/ 2242 h 4552"/>
              <a:gd name="T46" fmla="*/ 1335 w 3077"/>
              <a:gd name="T47" fmla="*/ 2221 h 4552"/>
              <a:gd name="T48" fmla="*/ 1330 w 3077"/>
              <a:gd name="T49" fmla="*/ 2201 h 4552"/>
              <a:gd name="T50" fmla="*/ 1324 w 3077"/>
              <a:gd name="T51" fmla="*/ 2181 h 4552"/>
              <a:gd name="T52" fmla="*/ 1316 w 3077"/>
              <a:gd name="T53" fmla="*/ 2162 h 4552"/>
              <a:gd name="T54" fmla="*/ 1308 w 3077"/>
              <a:gd name="T55" fmla="*/ 2144 h 4552"/>
              <a:gd name="T56" fmla="*/ 1299 w 3077"/>
              <a:gd name="T57" fmla="*/ 2125 h 4552"/>
              <a:gd name="T58" fmla="*/ 1288 w 3077"/>
              <a:gd name="T59" fmla="*/ 2108 h 4552"/>
              <a:gd name="T60" fmla="*/ 1276 w 3077"/>
              <a:gd name="T61" fmla="*/ 2091 h 4552"/>
              <a:gd name="T62" fmla="*/ 1262 w 3077"/>
              <a:gd name="T63" fmla="*/ 2075 h 4552"/>
              <a:gd name="T64" fmla="*/ 1249 w 3077"/>
              <a:gd name="T65" fmla="*/ 2060 h 4552"/>
              <a:gd name="T66" fmla="*/ 1234 w 3077"/>
              <a:gd name="T67" fmla="*/ 2045 h 4552"/>
              <a:gd name="T68" fmla="*/ 1218 w 3077"/>
              <a:gd name="T69" fmla="*/ 2032 h 4552"/>
              <a:gd name="T70" fmla="*/ 1201 w 3077"/>
              <a:gd name="T71" fmla="*/ 2020 h 4552"/>
              <a:gd name="T72" fmla="*/ 1183 w 3077"/>
              <a:gd name="T73" fmla="*/ 2009 h 4552"/>
              <a:gd name="T74" fmla="*/ 501 w 3077"/>
              <a:gd name="T75" fmla="*/ 1614 h 4552"/>
              <a:gd name="T76" fmla="*/ 0 w 3077"/>
              <a:gd name="T77" fmla="*/ 0 h 4552"/>
              <a:gd name="T78" fmla="*/ 2305 w 3077"/>
              <a:gd name="T79" fmla="*/ 0 h 4552"/>
              <a:gd name="T80" fmla="*/ 3077 w 3077"/>
              <a:gd name="T81" fmla="*/ 2488 h 4552"/>
              <a:gd name="T82" fmla="*/ 3077 w 3077"/>
              <a:gd name="T83" fmla="*/ 4552 h 4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077" h="4552">
                <a:moveTo>
                  <a:pt x="3077" y="4552"/>
                </a:moveTo>
                <a:lnTo>
                  <a:pt x="1412" y="4552"/>
                </a:lnTo>
                <a:lnTo>
                  <a:pt x="1136" y="3664"/>
                </a:lnTo>
                <a:lnTo>
                  <a:pt x="1183" y="3637"/>
                </a:lnTo>
                <a:lnTo>
                  <a:pt x="1201" y="3626"/>
                </a:lnTo>
                <a:lnTo>
                  <a:pt x="1218" y="3614"/>
                </a:lnTo>
                <a:lnTo>
                  <a:pt x="1234" y="3600"/>
                </a:lnTo>
                <a:lnTo>
                  <a:pt x="1249" y="3586"/>
                </a:lnTo>
                <a:lnTo>
                  <a:pt x="1262" y="3571"/>
                </a:lnTo>
                <a:lnTo>
                  <a:pt x="1276" y="3555"/>
                </a:lnTo>
                <a:lnTo>
                  <a:pt x="1288" y="3538"/>
                </a:lnTo>
                <a:lnTo>
                  <a:pt x="1299" y="3521"/>
                </a:lnTo>
                <a:lnTo>
                  <a:pt x="1308" y="3503"/>
                </a:lnTo>
                <a:lnTo>
                  <a:pt x="1316" y="3484"/>
                </a:lnTo>
                <a:lnTo>
                  <a:pt x="1324" y="3464"/>
                </a:lnTo>
                <a:lnTo>
                  <a:pt x="1330" y="3445"/>
                </a:lnTo>
                <a:lnTo>
                  <a:pt x="1335" y="3424"/>
                </a:lnTo>
                <a:lnTo>
                  <a:pt x="1338" y="3404"/>
                </a:lnTo>
                <a:lnTo>
                  <a:pt x="1340" y="3384"/>
                </a:lnTo>
                <a:lnTo>
                  <a:pt x="1341" y="3362"/>
                </a:lnTo>
                <a:lnTo>
                  <a:pt x="1341" y="2284"/>
                </a:lnTo>
                <a:lnTo>
                  <a:pt x="1340" y="2262"/>
                </a:lnTo>
                <a:lnTo>
                  <a:pt x="1338" y="2242"/>
                </a:lnTo>
                <a:lnTo>
                  <a:pt x="1335" y="2221"/>
                </a:lnTo>
                <a:lnTo>
                  <a:pt x="1330" y="2201"/>
                </a:lnTo>
                <a:lnTo>
                  <a:pt x="1324" y="2181"/>
                </a:lnTo>
                <a:lnTo>
                  <a:pt x="1316" y="2162"/>
                </a:lnTo>
                <a:lnTo>
                  <a:pt x="1308" y="2144"/>
                </a:lnTo>
                <a:lnTo>
                  <a:pt x="1299" y="2125"/>
                </a:lnTo>
                <a:lnTo>
                  <a:pt x="1288" y="2108"/>
                </a:lnTo>
                <a:lnTo>
                  <a:pt x="1276" y="2091"/>
                </a:lnTo>
                <a:lnTo>
                  <a:pt x="1262" y="2075"/>
                </a:lnTo>
                <a:lnTo>
                  <a:pt x="1249" y="2060"/>
                </a:lnTo>
                <a:lnTo>
                  <a:pt x="1234" y="2045"/>
                </a:lnTo>
                <a:lnTo>
                  <a:pt x="1218" y="2032"/>
                </a:lnTo>
                <a:lnTo>
                  <a:pt x="1201" y="2020"/>
                </a:lnTo>
                <a:lnTo>
                  <a:pt x="1183" y="2009"/>
                </a:lnTo>
                <a:lnTo>
                  <a:pt x="501" y="1614"/>
                </a:lnTo>
                <a:lnTo>
                  <a:pt x="0" y="0"/>
                </a:lnTo>
                <a:lnTo>
                  <a:pt x="2305" y="0"/>
                </a:lnTo>
                <a:lnTo>
                  <a:pt x="3077" y="2488"/>
                </a:lnTo>
                <a:lnTo>
                  <a:pt x="3077" y="4552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4" name="Freeform 10"/>
          <p:cNvSpPr>
            <a:spLocks noGrp="1"/>
          </p:cNvSpPr>
          <p:nvPr>
            <p:ph type="pic" sz="quarter" idx="11"/>
          </p:nvPr>
        </p:nvSpPr>
        <p:spPr bwMode="auto">
          <a:xfrm>
            <a:off x="5958545" y="2306096"/>
            <a:ext cx="3474757" cy="3896251"/>
          </a:xfrm>
          <a:custGeom>
            <a:avLst/>
            <a:gdLst>
              <a:gd name="T0" fmla="*/ 1008 w 2309"/>
              <a:gd name="T1" fmla="*/ 40 h 2583"/>
              <a:gd name="T2" fmla="*/ 1043 w 2309"/>
              <a:gd name="T3" fmla="*/ 23 h 2583"/>
              <a:gd name="T4" fmla="*/ 1079 w 2309"/>
              <a:gd name="T5" fmla="*/ 11 h 2583"/>
              <a:gd name="T6" fmla="*/ 1116 w 2309"/>
              <a:gd name="T7" fmla="*/ 3 h 2583"/>
              <a:gd name="T8" fmla="*/ 1154 w 2309"/>
              <a:gd name="T9" fmla="*/ 0 h 2583"/>
              <a:gd name="T10" fmla="*/ 1192 w 2309"/>
              <a:gd name="T11" fmla="*/ 3 h 2583"/>
              <a:gd name="T12" fmla="*/ 1230 w 2309"/>
              <a:gd name="T13" fmla="*/ 11 h 2583"/>
              <a:gd name="T14" fmla="*/ 1266 w 2309"/>
              <a:gd name="T15" fmla="*/ 23 h 2583"/>
              <a:gd name="T16" fmla="*/ 1301 w 2309"/>
              <a:gd name="T17" fmla="*/ 40 h 2583"/>
              <a:gd name="T18" fmla="*/ 2179 w 2309"/>
              <a:gd name="T19" fmla="*/ 549 h 2583"/>
              <a:gd name="T20" fmla="*/ 2209 w 2309"/>
              <a:gd name="T21" fmla="*/ 573 h 2583"/>
              <a:gd name="T22" fmla="*/ 2237 w 2309"/>
              <a:gd name="T23" fmla="*/ 600 h 2583"/>
              <a:gd name="T24" fmla="*/ 2259 w 2309"/>
              <a:gd name="T25" fmla="*/ 630 h 2583"/>
              <a:gd name="T26" fmla="*/ 2279 w 2309"/>
              <a:gd name="T27" fmla="*/ 663 h 2583"/>
              <a:gd name="T28" fmla="*/ 2293 w 2309"/>
              <a:gd name="T29" fmla="*/ 698 h 2583"/>
              <a:gd name="T30" fmla="*/ 2303 w 2309"/>
              <a:gd name="T31" fmla="*/ 735 h 2583"/>
              <a:gd name="T32" fmla="*/ 2308 w 2309"/>
              <a:gd name="T33" fmla="*/ 773 h 2583"/>
              <a:gd name="T34" fmla="*/ 2309 w 2309"/>
              <a:gd name="T35" fmla="*/ 1791 h 2583"/>
              <a:gd name="T36" fmla="*/ 2306 w 2309"/>
              <a:gd name="T37" fmla="*/ 1830 h 2583"/>
              <a:gd name="T38" fmla="*/ 2299 w 2309"/>
              <a:gd name="T39" fmla="*/ 1868 h 2583"/>
              <a:gd name="T40" fmla="*/ 2287 w 2309"/>
              <a:gd name="T41" fmla="*/ 1904 h 2583"/>
              <a:gd name="T42" fmla="*/ 2269 w 2309"/>
              <a:gd name="T43" fmla="*/ 1937 h 2583"/>
              <a:gd name="T44" fmla="*/ 2249 w 2309"/>
              <a:gd name="T45" fmla="*/ 1969 h 2583"/>
              <a:gd name="T46" fmla="*/ 2224 w 2309"/>
              <a:gd name="T47" fmla="*/ 1998 h 2583"/>
              <a:gd name="T48" fmla="*/ 2195 w 2309"/>
              <a:gd name="T49" fmla="*/ 2023 h 2583"/>
              <a:gd name="T50" fmla="*/ 2162 w 2309"/>
              <a:gd name="T51" fmla="*/ 2045 h 2583"/>
              <a:gd name="T52" fmla="*/ 1284 w 2309"/>
              <a:gd name="T53" fmla="*/ 2554 h 2583"/>
              <a:gd name="T54" fmla="*/ 1248 w 2309"/>
              <a:gd name="T55" fmla="*/ 2568 h 2583"/>
              <a:gd name="T56" fmla="*/ 1211 w 2309"/>
              <a:gd name="T57" fmla="*/ 2578 h 2583"/>
              <a:gd name="T58" fmla="*/ 1174 w 2309"/>
              <a:gd name="T59" fmla="*/ 2582 h 2583"/>
              <a:gd name="T60" fmla="*/ 1136 w 2309"/>
              <a:gd name="T61" fmla="*/ 2582 h 2583"/>
              <a:gd name="T62" fmla="*/ 1098 w 2309"/>
              <a:gd name="T63" fmla="*/ 2578 h 2583"/>
              <a:gd name="T64" fmla="*/ 1060 w 2309"/>
              <a:gd name="T65" fmla="*/ 2568 h 2583"/>
              <a:gd name="T66" fmla="*/ 1026 w 2309"/>
              <a:gd name="T67" fmla="*/ 2554 h 2583"/>
              <a:gd name="T68" fmla="*/ 146 w 2309"/>
              <a:gd name="T69" fmla="*/ 2045 h 2583"/>
              <a:gd name="T70" fmla="*/ 114 w 2309"/>
              <a:gd name="T71" fmla="*/ 2023 h 2583"/>
              <a:gd name="T72" fmla="*/ 85 w 2309"/>
              <a:gd name="T73" fmla="*/ 1998 h 2583"/>
              <a:gd name="T74" fmla="*/ 60 w 2309"/>
              <a:gd name="T75" fmla="*/ 1969 h 2583"/>
              <a:gd name="T76" fmla="*/ 39 w 2309"/>
              <a:gd name="T77" fmla="*/ 1937 h 2583"/>
              <a:gd name="T78" fmla="*/ 23 w 2309"/>
              <a:gd name="T79" fmla="*/ 1904 h 2583"/>
              <a:gd name="T80" fmla="*/ 10 w 2309"/>
              <a:gd name="T81" fmla="*/ 1868 h 2583"/>
              <a:gd name="T82" fmla="*/ 2 w 2309"/>
              <a:gd name="T83" fmla="*/ 1830 h 2583"/>
              <a:gd name="T84" fmla="*/ 0 w 2309"/>
              <a:gd name="T85" fmla="*/ 1791 h 2583"/>
              <a:gd name="T86" fmla="*/ 0 w 2309"/>
              <a:gd name="T87" fmla="*/ 773 h 2583"/>
              <a:gd name="T88" fmla="*/ 5 w 2309"/>
              <a:gd name="T89" fmla="*/ 735 h 2583"/>
              <a:gd name="T90" fmla="*/ 16 w 2309"/>
              <a:gd name="T91" fmla="*/ 698 h 2583"/>
              <a:gd name="T92" fmla="*/ 30 w 2309"/>
              <a:gd name="T93" fmla="*/ 663 h 2583"/>
              <a:gd name="T94" fmla="*/ 49 w 2309"/>
              <a:gd name="T95" fmla="*/ 630 h 2583"/>
              <a:gd name="T96" fmla="*/ 73 w 2309"/>
              <a:gd name="T97" fmla="*/ 600 h 2583"/>
              <a:gd name="T98" fmla="*/ 99 w 2309"/>
              <a:gd name="T99" fmla="*/ 573 h 2583"/>
              <a:gd name="T100" fmla="*/ 130 w 2309"/>
              <a:gd name="T101" fmla="*/ 549 h 25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309" h="2583">
                <a:moveTo>
                  <a:pt x="146" y="539"/>
                </a:moveTo>
                <a:lnTo>
                  <a:pt x="1008" y="40"/>
                </a:lnTo>
                <a:lnTo>
                  <a:pt x="1026" y="31"/>
                </a:lnTo>
                <a:lnTo>
                  <a:pt x="1043" y="23"/>
                </a:lnTo>
                <a:lnTo>
                  <a:pt x="1060" y="16"/>
                </a:lnTo>
                <a:lnTo>
                  <a:pt x="1079" y="11"/>
                </a:lnTo>
                <a:lnTo>
                  <a:pt x="1098" y="6"/>
                </a:lnTo>
                <a:lnTo>
                  <a:pt x="1116" y="3"/>
                </a:lnTo>
                <a:lnTo>
                  <a:pt x="1136" y="1"/>
                </a:lnTo>
                <a:lnTo>
                  <a:pt x="1154" y="0"/>
                </a:lnTo>
                <a:lnTo>
                  <a:pt x="1174" y="1"/>
                </a:lnTo>
                <a:lnTo>
                  <a:pt x="1192" y="3"/>
                </a:lnTo>
                <a:lnTo>
                  <a:pt x="1211" y="6"/>
                </a:lnTo>
                <a:lnTo>
                  <a:pt x="1230" y="11"/>
                </a:lnTo>
                <a:lnTo>
                  <a:pt x="1248" y="16"/>
                </a:lnTo>
                <a:lnTo>
                  <a:pt x="1266" y="23"/>
                </a:lnTo>
                <a:lnTo>
                  <a:pt x="1284" y="31"/>
                </a:lnTo>
                <a:lnTo>
                  <a:pt x="1301" y="40"/>
                </a:lnTo>
                <a:lnTo>
                  <a:pt x="2162" y="539"/>
                </a:lnTo>
                <a:lnTo>
                  <a:pt x="2179" y="549"/>
                </a:lnTo>
                <a:lnTo>
                  <a:pt x="2195" y="560"/>
                </a:lnTo>
                <a:lnTo>
                  <a:pt x="2209" y="573"/>
                </a:lnTo>
                <a:lnTo>
                  <a:pt x="2224" y="586"/>
                </a:lnTo>
                <a:lnTo>
                  <a:pt x="2237" y="600"/>
                </a:lnTo>
                <a:lnTo>
                  <a:pt x="2249" y="615"/>
                </a:lnTo>
                <a:lnTo>
                  <a:pt x="2259" y="630"/>
                </a:lnTo>
                <a:lnTo>
                  <a:pt x="2269" y="646"/>
                </a:lnTo>
                <a:lnTo>
                  <a:pt x="2279" y="663"/>
                </a:lnTo>
                <a:lnTo>
                  <a:pt x="2287" y="680"/>
                </a:lnTo>
                <a:lnTo>
                  <a:pt x="2293" y="698"/>
                </a:lnTo>
                <a:lnTo>
                  <a:pt x="2299" y="717"/>
                </a:lnTo>
                <a:lnTo>
                  <a:pt x="2303" y="735"/>
                </a:lnTo>
                <a:lnTo>
                  <a:pt x="2306" y="754"/>
                </a:lnTo>
                <a:lnTo>
                  <a:pt x="2308" y="773"/>
                </a:lnTo>
                <a:lnTo>
                  <a:pt x="2309" y="793"/>
                </a:lnTo>
                <a:lnTo>
                  <a:pt x="2309" y="1791"/>
                </a:lnTo>
                <a:lnTo>
                  <a:pt x="2308" y="1811"/>
                </a:lnTo>
                <a:lnTo>
                  <a:pt x="2306" y="1830"/>
                </a:lnTo>
                <a:lnTo>
                  <a:pt x="2303" y="1848"/>
                </a:lnTo>
                <a:lnTo>
                  <a:pt x="2299" y="1868"/>
                </a:lnTo>
                <a:lnTo>
                  <a:pt x="2293" y="1886"/>
                </a:lnTo>
                <a:lnTo>
                  <a:pt x="2287" y="1904"/>
                </a:lnTo>
                <a:lnTo>
                  <a:pt x="2279" y="1921"/>
                </a:lnTo>
                <a:lnTo>
                  <a:pt x="2269" y="1937"/>
                </a:lnTo>
                <a:lnTo>
                  <a:pt x="2259" y="1954"/>
                </a:lnTo>
                <a:lnTo>
                  <a:pt x="2249" y="1969"/>
                </a:lnTo>
                <a:lnTo>
                  <a:pt x="2237" y="1984"/>
                </a:lnTo>
                <a:lnTo>
                  <a:pt x="2224" y="1998"/>
                </a:lnTo>
                <a:lnTo>
                  <a:pt x="2209" y="2011"/>
                </a:lnTo>
                <a:lnTo>
                  <a:pt x="2195" y="2023"/>
                </a:lnTo>
                <a:lnTo>
                  <a:pt x="2179" y="2034"/>
                </a:lnTo>
                <a:lnTo>
                  <a:pt x="2162" y="2045"/>
                </a:lnTo>
                <a:lnTo>
                  <a:pt x="1301" y="2544"/>
                </a:lnTo>
                <a:lnTo>
                  <a:pt x="1284" y="2554"/>
                </a:lnTo>
                <a:lnTo>
                  <a:pt x="1266" y="2561"/>
                </a:lnTo>
                <a:lnTo>
                  <a:pt x="1248" y="2568"/>
                </a:lnTo>
                <a:lnTo>
                  <a:pt x="1230" y="2573"/>
                </a:lnTo>
                <a:lnTo>
                  <a:pt x="1211" y="2578"/>
                </a:lnTo>
                <a:lnTo>
                  <a:pt x="1192" y="2581"/>
                </a:lnTo>
                <a:lnTo>
                  <a:pt x="1174" y="2582"/>
                </a:lnTo>
                <a:lnTo>
                  <a:pt x="1154" y="2583"/>
                </a:lnTo>
                <a:lnTo>
                  <a:pt x="1136" y="2582"/>
                </a:lnTo>
                <a:lnTo>
                  <a:pt x="1116" y="2581"/>
                </a:lnTo>
                <a:lnTo>
                  <a:pt x="1098" y="2578"/>
                </a:lnTo>
                <a:lnTo>
                  <a:pt x="1079" y="2573"/>
                </a:lnTo>
                <a:lnTo>
                  <a:pt x="1060" y="2568"/>
                </a:lnTo>
                <a:lnTo>
                  <a:pt x="1043" y="2561"/>
                </a:lnTo>
                <a:lnTo>
                  <a:pt x="1026" y="2554"/>
                </a:lnTo>
                <a:lnTo>
                  <a:pt x="1008" y="2544"/>
                </a:lnTo>
                <a:lnTo>
                  <a:pt x="146" y="2045"/>
                </a:lnTo>
                <a:lnTo>
                  <a:pt x="130" y="2034"/>
                </a:lnTo>
                <a:lnTo>
                  <a:pt x="114" y="2023"/>
                </a:lnTo>
                <a:lnTo>
                  <a:pt x="99" y="2011"/>
                </a:lnTo>
                <a:lnTo>
                  <a:pt x="85" y="1998"/>
                </a:lnTo>
                <a:lnTo>
                  <a:pt x="73" y="1984"/>
                </a:lnTo>
                <a:lnTo>
                  <a:pt x="60" y="1969"/>
                </a:lnTo>
                <a:lnTo>
                  <a:pt x="49" y="1954"/>
                </a:lnTo>
                <a:lnTo>
                  <a:pt x="39" y="1937"/>
                </a:lnTo>
                <a:lnTo>
                  <a:pt x="30" y="1921"/>
                </a:lnTo>
                <a:lnTo>
                  <a:pt x="23" y="1904"/>
                </a:lnTo>
                <a:lnTo>
                  <a:pt x="16" y="1886"/>
                </a:lnTo>
                <a:lnTo>
                  <a:pt x="10" y="1868"/>
                </a:lnTo>
                <a:lnTo>
                  <a:pt x="5" y="1848"/>
                </a:lnTo>
                <a:lnTo>
                  <a:pt x="2" y="1830"/>
                </a:lnTo>
                <a:lnTo>
                  <a:pt x="0" y="1811"/>
                </a:lnTo>
                <a:lnTo>
                  <a:pt x="0" y="1791"/>
                </a:lnTo>
                <a:lnTo>
                  <a:pt x="0" y="793"/>
                </a:lnTo>
                <a:lnTo>
                  <a:pt x="0" y="773"/>
                </a:lnTo>
                <a:lnTo>
                  <a:pt x="2" y="754"/>
                </a:lnTo>
                <a:lnTo>
                  <a:pt x="5" y="735"/>
                </a:lnTo>
                <a:lnTo>
                  <a:pt x="10" y="717"/>
                </a:lnTo>
                <a:lnTo>
                  <a:pt x="16" y="698"/>
                </a:lnTo>
                <a:lnTo>
                  <a:pt x="23" y="680"/>
                </a:lnTo>
                <a:lnTo>
                  <a:pt x="30" y="663"/>
                </a:lnTo>
                <a:lnTo>
                  <a:pt x="39" y="646"/>
                </a:lnTo>
                <a:lnTo>
                  <a:pt x="49" y="630"/>
                </a:lnTo>
                <a:lnTo>
                  <a:pt x="60" y="615"/>
                </a:lnTo>
                <a:lnTo>
                  <a:pt x="73" y="600"/>
                </a:lnTo>
                <a:lnTo>
                  <a:pt x="85" y="586"/>
                </a:lnTo>
                <a:lnTo>
                  <a:pt x="99" y="573"/>
                </a:lnTo>
                <a:lnTo>
                  <a:pt x="114" y="560"/>
                </a:lnTo>
                <a:lnTo>
                  <a:pt x="130" y="549"/>
                </a:lnTo>
                <a:lnTo>
                  <a:pt x="146" y="539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EA4139-C638-3F47-919B-3702BDD641E8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49671E8-4EBF-2C46-A297-C8E041C8BE32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32A1E079-510D-6248-BF6C-201D1127B7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68701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0" y="0"/>
            <a:ext cx="8853322" cy="6858000"/>
          </a:xfrm>
          <a:custGeom>
            <a:avLst/>
            <a:gdLst>
              <a:gd name="T0" fmla="*/ 0 w 5859"/>
              <a:gd name="T1" fmla="*/ 0 h 4539"/>
              <a:gd name="T2" fmla="*/ 1319 w 5859"/>
              <a:gd name="T3" fmla="*/ 0 h 4539"/>
              <a:gd name="T4" fmla="*/ 5859 w 5859"/>
              <a:gd name="T5" fmla="*/ 4539 h 4539"/>
              <a:gd name="T6" fmla="*/ 4150 w 5859"/>
              <a:gd name="T7" fmla="*/ 4539 h 4539"/>
              <a:gd name="T8" fmla="*/ 0 w 5859"/>
              <a:gd name="T9" fmla="*/ 391 h 4539"/>
              <a:gd name="T10" fmla="*/ 0 w 5859"/>
              <a:gd name="T11" fmla="*/ 0 h 4539"/>
              <a:gd name="T12" fmla="*/ 4070 w 5859"/>
              <a:gd name="T13" fmla="*/ 4539 h 4539"/>
              <a:gd name="T14" fmla="*/ 2360 w 5859"/>
              <a:gd name="T15" fmla="*/ 4539 h 4539"/>
              <a:gd name="T16" fmla="*/ 0 w 5859"/>
              <a:gd name="T17" fmla="*/ 2180 h 4539"/>
              <a:gd name="T18" fmla="*/ 0 w 5859"/>
              <a:gd name="T19" fmla="*/ 471 h 4539"/>
              <a:gd name="T20" fmla="*/ 4070 w 5859"/>
              <a:gd name="T21" fmla="*/ 4539 h 4539"/>
              <a:gd name="T22" fmla="*/ 2279 w 5859"/>
              <a:gd name="T23" fmla="*/ 4539 h 4539"/>
              <a:gd name="T24" fmla="*/ 569 w 5859"/>
              <a:gd name="T25" fmla="*/ 4539 h 4539"/>
              <a:gd name="T26" fmla="*/ 0 w 5859"/>
              <a:gd name="T27" fmla="*/ 3970 h 4539"/>
              <a:gd name="T28" fmla="*/ 0 w 5859"/>
              <a:gd name="T29" fmla="*/ 2262 h 4539"/>
              <a:gd name="T30" fmla="*/ 2279 w 5859"/>
              <a:gd name="T31" fmla="*/ 4539 h 4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859" h="4539">
                <a:moveTo>
                  <a:pt x="0" y="0"/>
                </a:moveTo>
                <a:lnTo>
                  <a:pt x="1319" y="0"/>
                </a:lnTo>
                <a:lnTo>
                  <a:pt x="5859" y="4539"/>
                </a:lnTo>
                <a:lnTo>
                  <a:pt x="4150" y="4539"/>
                </a:lnTo>
                <a:lnTo>
                  <a:pt x="0" y="391"/>
                </a:lnTo>
                <a:lnTo>
                  <a:pt x="0" y="0"/>
                </a:lnTo>
                <a:close/>
                <a:moveTo>
                  <a:pt x="4070" y="4539"/>
                </a:moveTo>
                <a:lnTo>
                  <a:pt x="2360" y="4539"/>
                </a:lnTo>
                <a:lnTo>
                  <a:pt x="0" y="2180"/>
                </a:lnTo>
                <a:lnTo>
                  <a:pt x="0" y="471"/>
                </a:lnTo>
                <a:lnTo>
                  <a:pt x="4070" y="4539"/>
                </a:lnTo>
                <a:close/>
                <a:moveTo>
                  <a:pt x="2279" y="4539"/>
                </a:moveTo>
                <a:lnTo>
                  <a:pt x="569" y="4539"/>
                </a:lnTo>
                <a:lnTo>
                  <a:pt x="0" y="3970"/>
                </a:lnTo>
                <a:lnTo>
                  <a:pt x="0" y="2262"/>
                </a:lnTo>
                <a:lnTo>
                  <a:pt x="2279" y="4539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E08A69C-CFB5-F149-A900-BDB250C76C24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FB996B6-BF05-794D-AA03-6AE01F350831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3C6708BB-4E94-D842-84D9-C6091C7AA7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942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9312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8"/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3338673" y="0"/>
            <a:ext cx="8853327" cy="6858000"/>
          </a:xfrm>
          <a:custGeom>
            <a:avLst/>
            <a:gdLst>
              <a:gd name="T0" fmla="*/ 5859 w 5859"/>
              <a:gd name="T1" fmla="*/ 4538 h 4538"/>
              <a:gd name="T2" fmla="*/ 4541 w 5859"/>
              <a:gd name="T3" fmla="*/ 4538 h 4538"/>
              <a:gd name="T4" fmla="*/ 0 w 5859"/>
              <a:gd name="T5" fmla="*/ 0 h 4538"/>
              <a:gd name="T6" fmla="*/ 1709 w 5859"/>
              <a:gd name="T7" fmla="*/ 0 h 4538"/>
              <a:gd name="T8" fmla="*/ 5859 w 5859"/>
              <a:gd name="T9" fmla="*/ 4147 h 4538"/>
              <a:gd name="T10" fmla="*/ 5859 w 5859"/>
              <a:gd name="T11" fmla="*/ 4538 h 4538"/>
              <a:gd name="T12" fmla="*/ 1791 w 5859"/>
              <a:gd name="T13" fmla="*/ 0 h 4538"/>
              <a:gd name="T14" fmla="*/ 3500 w 5859"/>
              <a:gd name="T15" fmla="*/ 0 h 4538"/>
              <a:gd name="T16" fmla="*/ 5859 w 5859"/>
              <a:gd name="T17" fmla="*/ 2358 h 4538"/>
              <a:gd name="T18" fmla="*/ 5859 w 5859"/>
              <a:gd name="T19" fmla="*/ 4067 h 4538"/>
              <a:gd name="T20" fmla="*/ 1791 w 5859"/>
              <a:gd name="T21" fmla="*/ 0 h 4538"/>
              <a:gd name="T22" fmla="*/ 3580 w 5859"/>
              <a:gd name="T23" fmla="*/ 0 h 4538"/>
              <a:gd name="T24" fmla="*/ 5290 w 5859"/>
              <a:gd name="T25" fmla="*/ 0 h 4538"/>
              <a:gd name="T26" fmla="*/ 5859 w 5859"/>
              <a:gd name="T27" fmla="*/ 568 h 4538"/>
              <a:gd name="T28" fmla="*/ 5859 w 5859"/>
              <a:gd name="T29" fmla="*/ 2277 h 4538"/>
              <a:gd name="T30" fmla="*/ 3580 w 5859"/>
              <a:gd name="T31" fmla="*/ 0 h 4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859" h="4538">
                <a:moveTo>
                  <a:pt x="5859" y="4538"/>
                </a:moveTo>
                <a:lnTo>
                  <a:pt x="4541" y="4538"/>
                </a:lnTo>
                <a:lnTo>
                  <a:pt x="0" y="0"/>
                </a:lnTo>
                <a:lnTo>
                  <a:pt x="1709" y="0"/>
                </a:lnTo>
                <a:lnTo>
                  <a:pt x="5859" y="4147"/>
                </a:lnTo>
                <a:lnTo>
                  <a:pt x="5859" y="4538"/>
                </a:lnTo>
                <a:close/>
                <a:moveTo>
                  <a:pt x="1791" y="0"/>
                </a:moveTo>
                <a:lnTo>
                  <a:pt x="3500" y="0"/>
                </a:lnTo>
                <a:lnTo>
                  <a:pt x="5859" y="2358"/>
                </a:lnTo>
                <a:lnTo>
                  <a:pt x="5859" y="4067"/>
                </a:lnTo>
                <a:lnTo>
                  <a:pt x="1791" y="0"/>
                </a:lnTo>
                <a:close/>
                <a:moveTo>
                  <a:pt x="3580" y="0"/>
                </a:moveTo>
                <a:lnTo>
                  <a:pt x="5290" y="0"/>
                </a:lnTo>
                <a:lnTo>
                  <a:pt x="5859" y="568"/>
                </a:lnTo>
                <a:lnTo>
                  <a:pt x="5859" y="2277"/>
                </a:lnTo>
                <a:lnTo>
                  <a:pt x="3580" y="0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E3D951A-69B2-9E47-9312-F79AF28D0C14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7AAB026-1527-0D48-9831-5E7841D2764F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A549394B-0516-4947-87DF-7818553CB9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1548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1"/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-11496" y="0"/>
            <a:ext cx="10716690" cy="6858000"/>
          </a:xfrm>
          <a:custGeom>
            <a:avLst/>
            <a:gdLst>
              <a:gd name="T0" fmla="*/ 799 w 5695"/>
              <a:gd name="T1" fmla="*/ 3645 h 3645"/>
              <a:gd name="T2" fmla="*/ 1046 w 5695"/>
              <a:gd name="T3" fmla="*/ 3645 h 3645"/>
              <a:gd name="T4" fmla="*/ 1845 w 5695"/>
              <a:gd name="T5" fmla="*/ 2846 h 3645"/>
              <a:gd name="T6" fmla="*/ 923 w 5695"/>
              <a:gd name="T7" fmla="*/ 1924 h 3645"/>
              <a:gd name="T8" fmla="*/ 0 w 5695"/>
              <a:gd name="T9" fmla="*/ 2846 h 3645"/>
              <a:gd name="T10" fmla="*/ 799 w 5695"/>
              <a:gd name="T11" fmla="*/ 3645 h 3645"/>
              <a:gd name="T12" fmla="*/ 1126 w 5695"/>
              <a:gd name="T13" fmla="*/ 3645 h 3645"/>
              <a:gd name="T14" fmla="*/ 2645 w 5695"/>
              <a:gd name="T15" fmla="*/ 3645 h 3645"/>
              <a:gd name="T16" fmla="*/ 1886 w 5695"/>
              <a:gd name="T17" fmla="*/ 2886 h 3645"/>
              <a:gd name="T18" fmla="*/ 1126 w 5695"/>
              <a:gd name="T19" fmla="*/ 3645 h 3645"/>
              <a:gd name="T20" fmla="*/ 2725 w 5695"/>
              <a:gd name="T21" fmla="*/ 3645 h 3645"/>
              <a:gd name="T22" fmla="*/ 2971 w 5695"/>
              <a:gd name="T23" fmla="*/ 3645 h 3645"/>
              <a:gd name="T24" fmla="*/ 3770 w 5695"/>
              <a:gd name="T25" fmla="*/ 2846 h 3645"/>
              <a:gd name="T26" fmla="*/ 2848 w 5695"/>
              <a:gd name="T27" fmla="*/ 1924 h 3645"/>
              <a:gd name="T28" fmla="*/ 1926 w 5695"/>
              <a:gd name="T29" fmla="*/ 2846 h 3645"/>
              <a:gd name="T30" fmla="*/ 2725 w 5695"/>
              <a:gd name="T31" fmla="*/ 3645 h 3645"/>
              <a:gd name="T32" fmla="*/ 3051 w 5695"/>
              <a:gd name="T33" fmla="*/ 3645 h 3645"/>
              <a:gd name="T34" fmla="*/ 4569 w 5695"/>
              <a:gd name="T35" fmla="*/ 3645 h 3645"/>
              <a:gd name="T36" fmla="*/ 3810 w 5695"/>
              <a:gd name="T37" fmla="*/ 2886 h 3645"/>
              <a:gd name="T38" fmla="*/ 3051 w 5695"/>
              <a:gd name="T39" fmla="*/ 3645 h 3645"/>
              <a:gd name="T40" fmla="*/ 4650 w 5695"/>
              <a:gd name="T41" fmla="*/ 3645 h 3645"/>
              <a:gd name="T42" fmla="*/ 4897 w 5695"/>
              <a:gd name="T43" fmla="*/ 3645 h 3645"/>
              <a:gd name="T44" fmla="*/ 5695 w 5695"/>
              <a:gd name="T45" fmla="*/ 2846 h 3645"/>
              <a:gd name="T46" fmla="*/ 4773 w 5695"/>
              <a:gd name="T47" fmla="*/ 1924 h 3645"/>
              <a:gd name="T48" fmla="*/ 3850 w 5695"/>
              <a:gd name="T49" fmla="*/ 2846 h 3645"/>
              <a:gd name="T50" fmla="*/ 4650 w 5695"/>
              <a:gd name="T51" fmla="*/ 3645 h 3645"/>
              <a:gd name="T52" fmla="*/ 2888 w 5695"/>
              <a:gd name="T53" fmla="*/ 1884 h 3645"/>
              <a:gd name="T54" fmla="*/ 3810 w 5695"/>
              <a:gd name="T55" fmla="*/ 962 h 3645"/>
              <a:gd name="T56" fmla="*/ 4732 w 5695"/>
              <a:gd name="T57" fmla="*/ 1884 h 3645"/>
              <a:gd name="T58" fmla="*/ 3810 w 5695"/>
              <a:gd name="T59" fmla="*/ 2806 h 3645"/>
              <a:gd name="T60" fmla="*/ 2888 w 5695"/>
              <a:gd name="T61" fmla="*/ 1884 h 3645"/>
              <a:gd name="T62" fmla="*/ 1926 w 5695"/>
              <a:gd name="T63" fmla="*/ 922 h 3645"/>
              <a:gd name="T64" fmla="*/ 2848 w 5695"/>
              <a:gd name="T65" fmla="*/ 0 h 3645"/>
              <a:gd name="T66" fmla="*/ 3770 w 5695"/>
              <a:gd name="T67" fmla="*/ 922 h 3645"/>
              <a:gd name="T68" fmla="*/ 2848 w 5695"/>
              <a:gd name="T69" fmla="*/ 1843 h 3645"/>
              <a:gd name="T70" fmla="*/ 1926 w 5695"/>
              <a:gd name="T71" fmla="*/ 922 h 3645"/>
              <a:gd name="T72" fmla="*/ 963 w 5695"/>
              <a:gd name="T73" fmla="*/ 1884 h 3645"/>
              <a:gd name="T74" fmla="*/ 1886 w 5695"/>
              <a:gd name="T75" fmla="*/ 962 h 3645"/>
              <a:gd name="T76" fmla="*/ 2808 w 5695"/>
              <a:gd name="T77" fmla="*/ 1884 h 3645"/>
              <a:gd name="T78" fmla="*/ 1886 w 5695"/>
              <a:gd name="T79" fmla="*/ 2806 h 3645"/>
              <a:gd name="T80" fmla="*/ 963 w 5695"/>
              <a:gd name="T81" fmla="*/ 1884 h 36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695" h="3645">
                <a:moveTo>
                  <a:pt x="799" y="3645"/>
                </a:moveTo>
                <a:lnTo>
                  <a:pt x="1046" y="3645"/>
                </a:lnTo>
                <a:lnTo>
                  <a:pt x="1845" y="2846"/>
                </a:lnTo>
                <a:lnTo>
                  <a:pt x="923" y="1924"/>
                </a:lnTo>
                <a:lnTo>
                  <a:pt x="0" y="2846"/>
                </a:lnTo>
                <a:lnTo>
                  <a:pt x="799" y="3645"/>
                </a:lnTo>
                <a:close/>
                <a:moveTo>
                  <a:pt x="1126" y="3645"/>
                </a:moveTo>
                <a:lnTo>
                  <a:pt x="2645" y="3645"/>
                </a:lnTo>
                <a:lnTo>
                  <a:pt x="1886" y="2886"/>
                </a:lnTo>
                <a:lnTo>
                  <a:pt x="1126" y="3645"/>
                </a:lnTo>
                <a:close/>
                <a:moveTo>
                  <a:pt x="2725" y="3645"/>
                </a:moveTo>
                <a:lnTo>
                  <a:pt x="2971" y="3645"/>
                </a:lnTo>
                <a:lnTo>
                  <a:pt x="3770" y="2846"/>
                </a:lnTo>
                <a:lnTo>
                  <a:pt x="2848" y="1924"/>
                </a:lnTo>
                <a:lnTo>
                  <a:pt x="1926" y="2846"/>
                </a:lnTo>
                <a:lnTo>
                  <a:pt x="2725" y="3645"/>
                </a:lnTo>
                <a:close/>
                <a:moveTo>
                  <a:pt x="3051" y="3645"/>
                </a:moveTo>
                <a:lnTo>
                  <a:pt x="4569" y="3645"/>
                </a:lnTo>
                <a:lnTo>
                  <a:pt x="3810" y="2886"/>
                </a:lnTo>
                <a:lnTo>
                  <a:pt x="3051" y="3645"/>
                </a:lnTo>
                <a:close/>
                <a:moveTo>
                  <a:pt x="4650" y="3645"/>
                </a:moveTo>
                <a:lnTo>
                  <a:pt x="4897" y="3645"/>
                </a:lnTo>
                <a:lnTo>
                  <a:pt x="5695" y="2846"/>
                </a:lnTo>
                <a:lnTo>
                  <a:pt x="4773" y="1924"/>
                </a:lnTo>
                <a:lnTo>
                  <a:pt x="3850" y="2846"/>
                </a:lnTo>
                <a:lnTo>
                  <a:pt x="4650" y="3645"/>
                </a:lnTo>
                <a:close/>
                <a:moveTo>
                  <a:pt x="2888" y="1884"/>
                </a:moveTo>
                <a:lnTo>
                  <a:pt x="3810" y="962"/>
                </a:lnTo>
                <a:lnTo>
                  <a:pt x="4732" y="1884"/>
                </a:lnTo>
                <a:lnTo>
                  <a:pt x="3810" y="2806"/>
                </a:lnTo>
                <a:lnTo>
                  <a:pt x="2888" y="1884"/>
                </a:lnTo>
                <a:close/>
                <a:moveTo>
                  <a:pt x="1926" y="922"/>
                </a:moveTo>
                <a:lnTo>
                  <a:pt x="2848" y="0"/>
                </a:lnTo>
                <a:lnTo>
                  <a:pt x="3770" y="922"/>
                </a:lnTo>
                <a:lnTo>
                  <a:pt x="2848" y="1843"/>
                </a:lnTo>
                <a:lnTo>
                  <a:pt x="1926" y="922"/>
                </a:lnTo>
                <a:close/>
                <a:moveTo>
                  <a:pt x="963" y="1884"/>
                </a:moveTo>
                <a:lnTo>
                  <a:pt x="1886" y="962"/>
                </a:lnTo>
                <a:lnTo>
                  <a:pt x="2808" y="1884"/>
                </a:lnTo>
                <a:lnTo>
                  <a:pt x="1886" y="2806"/>
                </a:lnTo>
                <a:lnTo>
                  <a:pt x="963" y="1884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7D8A615-F4EC-6F4A-AD0C-84BC4354911E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426D1AA-C440-8040-BA97-4282AA16723B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023D641B-B744-784E-999F-5BC99FCCDD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4160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12"/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3198338" y="0"/>
            <a:ext cx="10716690" cy="6858000"/>
          </a:xfrm>
          <a:custGeom>
            <a:avLst/>
            <a:gdLst>
              <a:gd name="T0" fmla="*/ 799 w 5695"/>
              <a:gd name="T1" fmla="*/ 0 h 3645"/>
              <a:gd name="T2" fmla="*/ 1046 w 5695"/>
              <a:gd name="T3" fmla="*/ 0 h 3645"/>
              <a:gd name="T4" fmla="*/ 1845 w 5695"/>
              <a:gd name="T5" fmla="*/ 799 h 3645"/>
              <a:gd name="T6" fmla="*/ 923 w 5695"/>
              <a:gd name="T7" fmla="*/ 1721 h 3645"/>
              <a:gd name="T8" fmla="*/ 0 w 5695"/>
              <a:gd name="T9" fmla="*/ 799 h 3645"/>
              <a:gd name="T10" fmla="*/ 799 w 5695"/>
              <a:gd name="T11" fmla="*/ 0 h 3645"/>
              <a:gd name="T12" fmla="*/ 1126 w 5695"/>
              <a:gd name="T13" fmla="*/ 0 h 3645"/>
              <a:gd name="T14" fmla="*/ 2645 w 5695"/>
              <a:gd name="T15" fmla="*/ 0 h 3645"/>
              <a:gd name="T16" fmla="*/ 1886 w 5695"/>
              <a:gd name="T17" fmla="*/ 758 h 3645"/>
              <a:gd name="T18" fmla="*/ 1126 w 5695"/>
              <a:gd name="T19" fmla="*/ 0 h 3645"/>
              <a:gd name="T20" fmla="*/ 2725 w 5695"/>
              <a:gd name="T21" fmla="*/ 0 h 3645"/>
              <a:gd name="T22" fmla="*/ 2971 w 5695"/>
              <a:gd name="T23" fmla="*/ 0 h 3645"/>
              <a:gd name="T24" fmla="*/ 3770 w 5695"/>
              <a:gd name="T25" fmla="*/ 799 h 3645"/>
              <a:gd name="T26" fmla="*/ 2848 w 5695"/>
              <a:gd name="T27" fmla="*/ 1721 h 3645"/>
              <a:gd name="T28" fmla="*/ 1926 w 5695"/>
              <a:gd name="T29" fmla="*/ 799 h 3645"/>
              <a:gd name="T30" fmla="*/ 2725 w 5695"/>
              <a:gd name="T31" fmla="*/ 0 h 3645"/>
              <a:gd name="T32" fmla="*/ 3051 w 5695"/>
              <a:gd name="T33" fmla="*/ 0 h 3645"/>
              <a:gd name="T34" fmla="*/ 4569 w 5695"/>
              <a:gd name="T35" fmla="*/ 0 h 3645"/>
              <a:gd name="T36" fmla="*/ 3810 w 5695"/>
              <a:gd name="T37" fmla="*/ 758 h 3645"/>
              <a:gd name="T38" fmla="*/ 3051 w 5695"/>
              <a:gd name="T39" fmla="*/ 0 h 3645"/>
              <a:gd name="T40" fmla="*/ 4650 w 5695"/>
              <a:gd name="T41" fmla="*/ 0 h 3645"/>
              <a:gd name="T42" fmla="*/ 4897 w 5695"/>
              <a:gd name="T43" fmla="*/ 0 h 3645"/>
              <a:gd name="T44" fmla="*/ 5695 w 5695"/>
              <a:gd name="T45" fmla="*/ 798 h 3645"/>
              <a:gd name="T46" fmla="*/ 4773 w 5695"/>
              <a:gd name="T47" fmla="*/ 1721 h 3645"/>
              <a:gd name="T48" fmla="*/ 3850 w 5695"/>
              <a:gd name="T49" fmla="*/ 799 h 3645"/>
              <a:gd name="T50" fmla="*/ 4650 w 5695"/>
              <a:gd name="T51" fmla="*/ 0 h 3645"/>
              <a:gd name="T52" fmla="*/ 2888 w 5695"/>
              <a:gd name="T53" fmla="*/ 1761 h 3645"/>
              <a:gd name="T54" fmla="*/ 3810 w 5695"/>
              <a:gd name="T55" fmla="*/ 2683 h 3645"/>
              <a:gd name="T56" fmla="*/ 4732 w 5695"/>
              <a:gd name="T57" fmla="*/ 1761 h 3645"/>
              <a:gd name="T58" fmla="*/ 3810 w 5695"/>
              <a:gd name="T59" fmla="*/ 839 h 3645"/>
              <a:gd name="T60" fmla="*/ 2888 w 5695"/>
              <a:gd name="T61" fmla="*/ 1761 h 3645"/>
              <a:gd name="T62" fmla="*/ 1926 w 5695"/>
              <a:gd name="T63" fmla="*/ 2723 h 3645"/>
              <a:gd name="T64" fmla="*/ 2848 w 5695"/>
              <a:gd name="T65" fmla="*/ 3645 h 3645"/>
              <a:gd name="T66" fmla="*/ 3770 w 5695"/>
              <a:gd name="T67" fmla="*/ 2723 h 3645"/>
              <a:gd name="T68" fmla="*/ 2848 w 5695"/>
              <a:gd name="T69" fmla="*/ 1801 h 3645"/>
              <a:gd name="T70" fmla="*/ 1926 w 5695"/>
              <a:gd name="T71" fmla="*/ 2723 h 3645"/>
              <a:gd name="T72" fmla="*/ 963 w 5695"/>
              <a:gd name="T73" fmla="*/ 1761 h 3645"/>
              <a:gd name="T74" fmla="*/ 1886 w 5695"/>
              <a:gd name="T75" fmla="*/ 2683 h 3645"/>
              <a:gd name="T76" fmla="*/ 2808 w 5695"/>
              <a:gd name="T77" fmla="*/ 1761 h 3645"/>
              <a:gd name="T78" fmla="*/ 1886 w 5695"/>
              <a:gd name="T79" fmla="*/ 839 h 3645"/>
              <a:gd name="T80" fmla="*/ 963 w 5695"/>
              <a:gd name="T81" fmla="*/ 1761 h 36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695" h="3645">
                <a:moveTo>
                  <a:pt x="799" y="0"/>
                </a:moveTo>
                <a:lnTo>
                  <a:pt x="1046" y="0"/>
                </a:lnTo>
                <a:lnTo>
                  <a:pt x="1845" y="799"/>
                </a:lnTo>
                <a:lnTo>
                  <a:pt x="923" y="1721"/>
                </a:lnTo>
                <a:lnTo>
                  <a:pt x="0" y="799"/>
                </a:lnTo>
                <a:lnTo>
                  <a:pt x="799" y="0"/>
                </a:lnTo>
                <a:close/>
                <a:moveTo>
                  <a:pt x="1126" y="0"/>
                </a:moveTo>
                <a:lnTo>
                  <a:pt x="2645" y="0"/>
                </a:lnTo>
                <a:lnTo>
                  <a:pt x="1886" y="758"/>
                </a:lnTo>
                <a:lnTo>
                  <a:pt x="1126" y="0"/>
                </a:lnTo>
                <a:close/>
                <a:moveTo>
                  <a:pt x="2725" y="0"/>
                </a:moveTo>
                <a:lnTo>
                  <a:pt x="2971" y="0"/>
                </a:lnTo>
                <a:lnTo>
                  <a:pt x="3770" y="799"/>
                </a:lnTo>
                <a:lnTo>
                  <a:pt x="2848" y="1721"/>
                </a:lnTo>
                <a:lnTo>
                  <a:pt x="1926" y="799"/>
                </a:lnTo>
                <a:lnTo>
                  <a:pt x="2725" y="0"/>
                </a:lnTo>
                <a:close/>
                <a:moveTo>
                  <a:pt x="3051" y="0"/>
                </a:moveTo>
                <a:lnTo>
                  <a:pt x="4569" y="0"/>
                </a:lnTo>
                <a:lnTo>
                  <a:pt x="3810" y="758"/>
                </a:lnTo>
                <a:lnTo>
                  <a:pt x="3051" y="0"/>
                </a:lnTo>
                <a:close/>
                <a:moveTo>
                  <a:pt x="4650" y="0"/>
                </a:moveTo>
                <a:lnTo>
                  <a:pt x="4897" y="0"/>
                </a:lnTo>
                <a:lnTo>
                  <a:pt x="5695" y="798"/>
                </a:lnTo>
                <a:lnTo>
                  <a:pt x="4773" y="1721"/>
                </a:lnTo>
                <a:lnTo>
                  <a:pt x="3850" y="799"/>
                </a:lnTo>
                <a:lnTo>
                  <a:pt x="4650" y="0"/>
                </a:lnTo>
                <a:close/>
                <a:moveTo>
                  <a:pt x="2888" y="1761"/>
                </a:moveTo>
                <a:lnTo>
                  <a:pt x="3810" y="2683"/>
                </a:lnTo>
                <a:lnTo>
                  <a:pt x="4732" y="1761"/>
                </a:lnTo>
                <a:lnTo>
                  <a:pt x="3810" y="839"/>
                </a:lnTo>
                <a:lnTo>
                  <a:pt x="2888" y="1761"/>
                </a:lnTo>
                <a:close/>
                <a:moveTo>
                  <a:pt x="1926" y="2723"/>
                </a:moveTo>
                <a:lnTo>
                  <a:pt x="2848" y="3645"/>
                </a:lnTo>
                <a:lnTo>
                  <a:pt x="3770" y="2723"/>
                </a:lnTo>
                <a:lnTo>
                  <a:pt x="2848" y="1801"/>
                </a:lnTo>
                <a:lnTo>
                  <a:pt x="1926" y="2723"/>
                </a:lnTo>
                <a:close/>
                <a:moveTo>
                  <a:pt x="963" y="1761"/>
                </a:moveTo>
                <a:lnTo>
                  <a:pt x="1886" y="2683"/>
                </a:lnTo>
                <a:lnTo>
                  <a:pt x="2808" y="1761"/>
                </a:lnTo>
                <a:lnTo>
                  <a:pt x="1886" y="839"/>
                </a:lnTo>
                <a:lnTo>
                  <a:pt x="963" y="1761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60FDA95-18F8-294F-9490-619C7C0A9C34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2CE75B9-A460-8B4A-87CC-0E56228F0C7E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C52BB405-E388-534E-BA92-B06362F3CC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89261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 noChangeArrowheads="1"/>
          </p:cNvSpPr>
          <p:nvPr>
            <p:ph type="pic" sz="quarter" idx="10"/>
          </p:nvPr>
        </p:nvSpPr>
        <p:spPr bwMode="auto">
          <a:xfrm>
            <a:off x="1212650" y="0"/>
            <a:ext cx="4441335" cy="6858000"/>
          </a:xfrm>
          <a:custGeom>
            <a:avLst/>
            <a:gdLst>
              <a:gd name="connsiteX0" fmla="*/ 4581543 w 6662001"/>
              <a:gd name="connsiteY0" fmla="*/ 6400518 h 10288580"/>
              <a:gd name="connsiteX1" fmla="*/ 6662001 w 6662001"/>
              <a:gd name="connsiteY1" fmla="*/ 6400518 h 10288580"/>
              <a:gd name="connsiteX2" fmla="*/ 6662001 w 6662001"/>
              <a:gd name="connsiteY2" fmla="*/ 8469603 h 10288580"/>
              <a:gd name="connsiteX3" fmla="*/ 4581543 w 6662001"/>
              <a:gd name="connsiteY3" fmla="*/ 8469603 h 10288580"/>
              <a:gd name="connsiteX4" fmla="*/ 2296458 w 6662001"/>
              <a:gd name="connsiteY4" fmla="*/ 6400518 h 10288580"/>
              <a:gd name="connsiteX5" fmla="*/ 4365543 w 6662001"/>
              <a:gd name="connsiteY5" fmla="*/ 6400518 h 10288580"/>
              <a:gd name="connsiteX6" fmla="*/ 4365543 w 6662001"/>
              <a:gd name="connsiteY6" fmla="*/ 8469603 h 10288580"/>
              <a:gd name="connsiteX7" fmla="*/ 2296458 w 6662001"/>
              <a:gd name="connsiteY7" fmla="*/ 8469603 h 10288580"/>
              <a:gd name="connsiteX8" fmla="*/ 0 w 6662001"/>
              <a:gd name="connsiteY8" fmla="*/ 6400518 h 10288580"/>
              <a:gd name="connsiteX9" fmla="*/ 2069085 w 6662001"/>
              <a:gd name="connsiteY9" fmla="*/ 6400518 h 10288580"/>
              <a:gd name="connsiteX10" fmla="*/ 2069085 w 6662001"/>
              <a:gd name="connsiteY10" fmla="*/ 10288580 h 10288580"/>
              <a:gd name="connsiteX11" fmla="*/ 0 w 6662001"/>
              <a:gd name="connsiteY11" fmla="*/ 10288580 h 10288580"/>
              <a:gd name="connsiteX12" fmla="*/ 4581543 w 6662001"/>
              <a:gd name="connsiteY12" fmla="*/ 4115434 h 10288580"/>
              <a:gd name="connsiteX13" fmla="*/ 6662001 w 6662001"/>
              <a:gd name="connsiteY13" fmla="*/ 4115434 h 10288580"/>
              <a:gd name="connsiteX14" fmla="*/ 6662001 w 6662001"/>
              <a:gd name="connsiteY14" fmla="*/ 6184518 h 10288580"/>
              <a:gd name="connsiteX15" fmla="*/ 4581543 w 6662001"/>
              <a:gd name="connsiteY15" fmla="*/ 6184518 h 10288580"/>
              <a:gd name="connsiteX16" fmla="*/ 0 w 6662001"/>
              <a:gd name="connsiteY16" fmla="*/ 4115434 h 10288580"/>
              <a:gd name="connsiteX17" fmla="*/ 2069085 w 6662001"/>
              <a:gd name="connsiteY17" fmla="*/ 4115434 h 10288580"/>
              <a:gd name="connsiteX18" fmla="*/ 2069085 w 6662001"/>
              <a:gd name="connsiteY18" fmla="*/ 6184518 h 10288580"/>
              <a:gd name="connsiteX19" fmla="*/ 0 w 6662001"/>
              <a:gd name="connsiteY19" fmla="*/ 6184518 h 10288580"/>
              <a:gd name="connsiteX20" fmla="*/ 2296458 w 6662001"/>
              <a:gd name="connsiteY20" fmla="*/ 4115434 h 10288580"/>
              <a:gd name="connsiteX21" fmla="*/ 4365543 w 6662001"/>
              <a:gd name="connsiteY21" fmla="*/ 4115434 h 10288580"/>
              <a:gd name="connsiteX22" fmla="*/ 4365543 w 6662001"/>
              <a:gd name="connsiteY22" fmla="*/ 6184518 h 10288580"/>
              <a:gd name="connsiteX23" fmla="*/ 2296458 w 6662001"/>
              <a:gd name="connsiteY23" fmla="*/ 6184518 h 10288580"/>
              <a:gd name="connsiteX24" fmla="*/ 0 w 6662001"/>
              <a:gd name="connsiteY24" fmla="*/ 1818976 h 10288580"/>
              <a:gd name="connsiteX25" fmla="*/ 2069085 w 6662001"/>
              <a:gd name="connsiteY25" fmla="*/ 1818976 h 10288580"/>
              <a:gd name="connsiteX26" fmla="*/ 2069085 w 6662001"/>
              <a:gd name="connsiteY26" fmla="*/ 3899434 h 10288580"/>
              <a:gd name="connsiteX27" fmla="*/ 0 w 6662001"/>
              <a:gd name="connsiteY27" fmla="*/ 3899434 h 10288580"/>
              <a:gd name="connsiteX28" fmla="*/ 4581543 w 6662001"/>
              <a:gd name="connsiteY28" fmla="*/ 1818975 h 10288580"/>
              <a:gd name="connsiteX29" fmla="*/ 6662001 w 6662001"/>
              <a:gd name="connsiteY29" fmla="*/ 1818975 h 10288580"/>
              <a:gd name="connsiteX30" fmla="*/ 6662001 w 6662001"/>
              <a:gd name="connsiteY30" fmla="*/ 3899433 h 10288580"/>
              <a:gd name="connsiteX31" fmla="*/ 4581543 w 6662001"/>
              <a:gd name="connsiteY31" fmla="*/ 3899433 h 10288580"/>
              <a:gd name="connsiteX32" fmla="*/ 2296458 w 6662001"/>
              <a:gd name="connsiteY32" fmla="*/ 0 h 10288580"/>
              <a:gd name="connsiteX33" fmla="*/ 4365543 w 6662001"/>
              <a:gd name="connsiteY33" fmla="*/ 0 h 10288580"/>
              <a:gd name="connsiteX34" fmla="*/ 4365543 w 6662001"/>
              <a:gd name="connsiteY34" fmla="*/ 3899434 h 10288580"/>
              <a:gd name="connsiteX35" fmla="*/ 2296458 w 6662001"/>
              <a:gd name="connsiteY35" fmla="*/ 3899434 h 10288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6662001" h="10288580">
                <a:moveTo>
                  <a:pt x="4581543" y="6400518"/>
                </a:moveTo>
                <a:lnTo>
                  <a:pt x="6662001" y="6400518"/>
                </a:lnTo>
                <a:lnTo>
                  <a:pt x="6662001" y="8469603"/>
                </a:lnTo>
                <a:lnTo>
                  <a:pt x="4581543" y="8469603"/>
                </a:lnTo>
                <a:close/>
                <a:moveTo>
                  <a:pt x="2296458" y="6400518"/>
                </a:moveTo>
                <a:lnTo>
                  <a:pt x="4365543" y="6400518"/>
                </a:lnTo>
                <a:lnTo>
                  <a:pt x="4365543" y="8469603"/>
                </a:lnTo>
                <a:lnTo>
                  <a:pt x="2296458" y="8469603"/>
                </a:lnTo>
                <a:close/>
                <a:moveTo>
                  <a:pt x="0" y="6400518"/>
                </a:moveTo>
                <a:lnTo>
                  <a:pt x="2069085" y="6400518"/>
                </a:lnTo>
                <a:lnTo>
                  <a:pt x="2069085" y="10288580"/>
                </a:lnTo>
                <a:lnTo>
                  <a:pt x="0" y="10288580"/>
                </a:lnTo>
                <a:close/>
                <a:moveTo>
                  <a:pt x="4581543" y="4115434"/>
                </a:moveTo>
                <a:lnTo>
                  <a:pt x="6662001" y="4115434"/>
                </a:lnTo>
                <a:lnTo>
                  <a:pt x="6662001" y="6184518"/>
                </a:lnTo>
                <a:lnTo>
                  <a:pt x="4581543" y="6184518"/>
                </a:lnTo>
                <a:close/>
                <a:moveTo>
                  <a:pt x="0" y="4115434"/>
                </a:moveTo>
                <a:lnTo>
                  <a:pt x="2069085" y="4115434"/>
                </a:lnTo>
                <a:lnTo>
                  <a:pt x="2069085" y="6184518"/>
                </a:lnTo>
                <a:lnTo>
                  <a:pt x="0" y="6184518"/>
                </a:lnTo>
                <a:close/>
                <a:moveTo>
                  <a:pt x="2296458" y="4115434"/>
                </a:moveTo>
                <a:lnTo>
                  <a:pt x="4365543" y="4115434"/>
                </a:lnTo>
                <a:lnTo>
                  <a:pt x="4365543" y="6184518"/>
                </a:lnTo>
                <a:lnTo>
                  <a:pt x="2296458" y="6184518"/>
                </a:lnTo>
                <a:close/>
                <a:moveTo>
                  <a:pt x="0" y="1818976"/>
                </a:moveTo>
                <a:lnTo>
                  <a:pt x="2069085" y="1818976"/>
                </a:lnTo>
                <a:lnTo>
                  <a:pt x="2069085" y="3899434"/>
                </a:lnTo>
                <a:lnTo>
                  <a:pt x="0" y="3899434"/>
                </a:lnTo>
                <a:close/>
                <a:moveTo>
                  <a:pt x="4581543" y="1818975"/>
                </a:moveTo>
                <a:lnTo>
                  <a:pt x="6662001" y="1818975"/>
                </a:lnTo>
                <a:lnTo>
                  <a:pt x="6662001" y="3899433"/>
                </a:lnTo>
                <a:lnTo>
                  <a:pt x="4581543" y="3899433"/>
                </a:lnTo>
                <a:close/>
                <a:moveTo>
                  <a:pt x="2296458" y="0"/>
                </a:moveTo>
                <a:lnTo>
                  <a:pt x="4365543" y="0"/>
                </a:lnTo>
                <a:lnTo>
                  <a:pt x="4365543" y="3899434"/>
                </a:lnTo>
                <a:lnTo>
                  <a:pt x="2296458" y="3899434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B429BA-8206-424E-BC96-CC7B15B1AEEA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52B6704-F2A5-7B48-9BCB-2C123C0F8E5D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43745EA1-1173-434E-876B-864FA4E6F7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942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6250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"/>
          <p:cNvSpPr>
            <a:spLocks noGrp="1" noChangeArrowheads="1"/>
          </p:cNvSpPr>
          <p:nvPr>
            <p:ph type="pic" sz="quarter" idx="10"/>
          </p:nvPr>
        </p:nvSpPr>
        <p:spPr bwMode="auto">
          <a:xfrm>
            <a:off x="824683" y="871461"/>
            <a:ext cx="5131027" cy="5115079"/>
          </a:xfrm>
          <a:custGeom>
            <a:avLst/>
            <a:gdLst>
              <a:gd name="connsiteX0" fmla="*/ 6696103 w 7696540"/>
              <a:gd name="connsiteY0" fmla="*/ 6673365 h 7673802"/>
              <a:gd name="connsiteX1" fmla="*/ 7696540 w 7696540"/>
              <a:gd name="connsiteY1" fmla="*/ 6673365 h 7673802"/>
              <a:gd name="connsiteX2" fmla="*/ 7696540 w 7696540"/>
              <a:gd name="connsiteY2" fmla="*/ 7673802 h 7673802"/>
              <a:gd name="connsiteX3" fmla="*/ 6696103 w 7696540"/>
              <a:gd name="connsiteY3" fmla="*/ 7673802 h 7673802"/>
              <a:gd name="connsiteX4" fmla="*/ 5581980 w 7696540"/>
              <a:gd name="connsiteY4" fmla="*/ 6673365 h 7673802"/>
              <a:gd name="connsiteX5" fmla="*/ 6582417 w 7696540"/>
              <a:gd name="connsiteY5" fmla="*/ 6673365 h 7673802"/>
              <a:gd name="connsiteX6" fmla="*/ 6582417 w 7696540"/>
              <a:gd name="connsiteY6" fmla="*/ 7673802 h 7673802"/>
              <a:gd name="connsiteX7" fmla="*/ 5581980 w 7696540"/>
              <a:gd name="connsiteY7" fmla="*/ 7673802 h 7673802"/>
              <a:gd name="connsiteX8" fmla="*/ 4467857 w 7696540"/>
              <a:gd name="connsiteY8" fmla="*/ 6673365 h 7673802"/>
              <a:gd name="connsiteX9" fmla="*/ 5456929 w 7696540"/>
              <a:gd name="connsiteY9" fmla="*/ 6673365 h 7673802"/>
              <a:gd name="connsiteX10" fmla="*/ 5456929 w 7696540"/>
              <a:gd name="connsiteY10" fmla="*/ 7673802 h 7673802"/>
              <a:gd name="connsiteX11" fmla="*/ 4467857 w 7696540"/>
              <a:gd name="connsiteY11" fmla="*/ 7673802 h 7673802"/>
              <a:gd name="connsiteX12" fmla="*/ 2228246 w 7696540"/>
              <a:gd name="connsiteY12" fmla="*/ 6673365 h 7673802"/>
              <a:gd name="connsiteX13" fmla="*/ 3228683 w 7696540"/>
              <a:gd name="connsiteY13" fmla="*/ 6673365 h 7673802"/>
              <a:gd name="connsiteX14" fmla="*/ 3228683 w 7696540"/>
              <a:gd name="connsiteY14" fmla="*/ 7673802 h 7673802"/>
              <a:gd name="connsiteX15" fmla="*/ 2228246 w 7696540"/>
              <a:gd name="connsiteY15" fmla="*/ 7673802 h 7673802"/>
              <a:gd name="connsiteX16" fmla="*/ 1114123 w 7696540"/>
              <a:gd name="connsiteY16" fmla="*/ 6673365 h 7673802"/>
              <a:gd name="connsiteX17" fmla="*/ 2114560 w 7696540"/>
              <a:gd name="connsiteY17" fmla="*/ 6673365 h 7673802"/>
              <a:gd name="connsiteX18" fmla="*/ 2114560 w 7696540"/>
              <a:gd name="connsiteY18" fmla="*/ 7673802 h 7673802"/>
              <a:gd name="connsiteX19" fmla="*/ 1114123 w 7696540"/>
              <a:gd name="connsiteY19" fmla="*/ 7673802 h 7673802"/>
              <a:gd name="connsiteX20" fmla="*/ 6696103 w 7696540"/>
              <a:gd name="connsiteY20" fmla="*/ 5570615 h 7673802"/>
              <a:gd name="connsiteX21" fmla="*/ 7696540 w 7696540"/>
              <a:gd name="connsiteY21" fmla="*/ 5570615 h 7673802"/>
              <a:gd name="connsiteX22" fmla="*/ 7696540 w 7696540"/>
              <a:gd name="connsiteY22" fmla="*/ 6559687 h 7673802"/>
              <a:gd name="connsiteX23" fmla="*/ 6696103 w 7696540"/>
              <a:gd name="connsiteY23" fmla="*/ 6559687 h 7673802"/>
              <a:gd name="connsiteX24" fmla="*/ 4467857 w 7696540"/>
              <a:gd name="connsiteY24" fmla="*/ 5570615 h 7673802"/>
              <a:gd name="connsiteX25" fmla="*/ 5456929 w 7696540"/>
              <a:gd name="connsiteY25" fmla="*/ 5570615 h 7673802"/>
              <a:gd name="connsiteX26" fmla="*/ 5456929 w 7696540"/>
              <a:gd name="connsiteY26" fmla="*/ 6559687 h 7673802"/>
              <a:gd name="connsiteX27" fmla="*/ 4467857 w 7696540"/>
              <a:gd name="connsiteY27" fmla="*/ 6559687 h 7673802"/>
              <a:gd name="connsiteX28" fmla="*/ 3342369 w 7696540"/>
              <a:gd name="connsiteY28" fmla="*/ 5570615 h 7673802"/>
              <a:gd name="connsiteX29" fmla="*/ 4342806 w 7696540"/>
              <a:gd name="connsiteY29" fmla="*/ 5570615 h 7673802"/>
              <a:gd name="connsiteX30" fmla="*/ 4342806 w 7696540"/>
              <a:gd name="connsiteY30" fmla="*/ 6559687 h 7673802"/>
              <a:gd name="connsiteX31" fmla="*/ 3342369 w 7696540"/>
              <a:gd name="connsiteY31" fmla="*/ 6559687 h 7673802"/>
              <a:gd name="connsiteX32" fmla="*/ 2228246 w 7696540"/>
              <a:gd name="connsiteY32" fmla="*/ 5570615 h 7673802"/>
              <a:gd name="connsiteX33" fmla="*/ 3228683 w 7696540"/>
              <a:gd name="connsiteY33" fmla="*/ 5570615 h 7673802"/>
              <a:gd name="connsiteX34" fmla="*/ 3228683 w 7696540"/>
              <a:gd name="connsiteY34" fmla="*/ 6559687 h 7673802"/>
              <a:gd name="connsiteX35" fmla="*/ 2228246 w 7696540"/>
              <a:gd name="connsiteY35" fmla="*/ 6559687 h 7673802"/>
              <a:gd name="connsiteX36" fmla="*/ 1114123 w 7696540"/>
              <a:gd name="connsiteY36" fmla="*/ 5570615 h 7673802"/>
              <a:gd name="connsiteX37" fmla="*/ 2114560 w 7696540"/>
              <a:gd name="connsiteY37" fmla="*/ 5570615 h 7673802"/>
              <a:gd name="connsiteX38" fmla="*/ 2114560 w 7696540"/>
              <a:gd name="connsiteY38" fmla="*/ 6559687 h 7673802"/>
              <a:gd name="connsiteX39" fmla="*/ 1114123 w 7696540"/>
              <a:gd name="connsiteY39" fmla="*/ 6559687 h 7673802"/>
              <a:gd name="connsiteX40" fmla="*/ 0 w 7696540"/>
              <a:gd name="connsiteY40" fmla="*/ 5570615 h 7673802"/>
              <a:gd name="connsiteX41" fmla="*/ 989072 w 7696540"/>
              <a:gd name="connsiteY41" fmla="*/ 5570615 h 7673802"/>
              <a:gd name="connsiteX42" fmla="*/ 989072 w 7696540"/>
              <a:gd name="connsiteY42" fmla="*/ 6559687 h 7673802"/>
              <a:gd name="connsiteX43" fmla="*/ 0 w 7696540"/>
              <a:gd name="connsiteY43" fmla="*/ 6559687 h 7673802"/>
              <a:gd name="connsiteX44" fmla="*/ 6696103 w 7696540"/>
              <a:gd name="connsiteY44" fmla="*/ 4456492 h 7673802"/>
              <a:gd name="connsiteX45" fmla="*/ 7696540 w 7696540"/>
              <a:gd name="connsiteY45" fmla="*/ 4456492 h 7673802"/>
              <a:gd name="connsiteX46" fmla="*/ 7696540 w 7696540"/>
              <a:gd name="connsiteY46" fmla="*/ 5445564 h 7673802"/>
              <a:gd name="connsiteX47" fmla="*/ 6696103 w 7696540"/>
              <a:gd name="connsiteY47" fmla="*/ 5445564 h 7673802"/>
              <a:gd name="connsiteX48" fmla="*/ 5581980 w 7696540"/>
              <a:gd name="connsiteY48" fmla="*/ 4456492 h 7673802"/>
              <a:gd name="connsiteX49" fmla="*/ 6582417 w 7696540"/>
              <a:gd name="connsiteY49" fmla="*/ 4456492 h 7673802"/>
              <a:gd name="connsiteX50" fmla="*/ 6582417 w 7696540"/>
              <a:gd name="connsiteY50" fmla="*/ 5445564 h 7673802"/>
              <a:gd name="connsiteX51" fmla="*/ 5581980 w 7696540"/>
              <a:gd name="connsiteY51" fmla="*/ 5445564 h 7673802"/>
              <a:gd name="connsiteX52" fmla="*/ 4467857 w 7696540"/>
              <a:gd name="connsiteY52" fmla="*/ 4456492 h 7673802"/>
              <a:gd name="connsiteX53" fmla="*/ 5456929 w 7696540"/>
              <a:gd name="connsiteY53" fmla="*/ 4456492 h 7673802"/>
              <a:gd name="connsiteX54" fmla="*/ 5456929 w 7696540"/>
              <a:gd name="connsiteY54" fmla="*/ 5445564 h 7673802"/>
              <a:gd name="connsiteX55" fmla="*/ 4467857 w 7696540"/>
              <a:gd name="connsiteY55" fmla="*/ 5445564 h 7673802"/>
              <a:gd name="connsiteX56" fmla="*/ 3342369 w 7696540"/>
              <a:gd name="connsiteY56" fmla="*/ 4456492 h 7673802"/>
              <a:gd name="connsiteX57" fmla="*/ 4342806 w 7696540"/>
              <a:gd name="connsiteY57" fmla="*/ 4456492 h 7673802"/>
              <a:gd name="connsiteX58" fmla="*/ 4342806 w 7696540"/>
              <a:gd name="connsiteY58" fmla="*/ 5445564 h 7673802"/>
              <a:gd name="connsiteX59" fmla="*/ 3342369 w 7696540"/>
              <a:gd name="connsiteY59" fmla="*/ 5445564 h 7673802"/>
              <a:gd name="connsiteX60" fmla="*/ 1114124 w 7696540"/>
              <a:gd name="connsiteY60" fmla="*/ 4456492 h 7673802"/>
              <a:gd name="connsiteX61" fmla="*/ 2114561 w 7696540"/>
              <a:gd name="connsiteY61" fmla="*/ 4456492 h 7673802"/>
              <a:gd name="connsiteX62" fmla="*/ 2114561 w 7696540"/>
              <a:gd name="connsiteY62" fmla="*/ 5445564 h 7673802"/>
              <a:gd name="connsiteX63" fmla="*/ 1114124 w 7696540"/>
              <a:gd name="connsiteY63" fmla="*/ 5445564 h 7673802"/>
              <a:gd name="connsiteX64" fmla="*/ 6696103 w 7696540"/>
              <a:gd name="connsiteY64" fmla="*/ 3342369 h 7673802"/>
              <a:gd name="connsiteX65" fmla="*/ 7696540 w 7696540"/>
              <a:gd name="connsiteY65" fmla="*/ 3342369 h 7673802"/>
              <a:gd name="connsiteX66" fmla="*/ 7696540 w 7696540"/>
              <a:gd name="connsiteY66" fmla="*/ 4331441 h 7673802"/>
              <a:gd name="connsiteX67" fmla="*/ 6696103 w 7696540"/>
              <a:gd name="connsiteY67" fmla="*/ 4331441 h 7673802"/>
              <a:gd name="connsiteX68" fmla="*/ 5581980 w 7696540"/>
              <a:gd name="connsiteY68" fmla="*/ 3342369 h 7673802"/>
              <a:gd name="connsiteX69" fmla="*/ 6582417 w 7696540"/>
              <a:gd name="connsiteY69" fmla="*/ 3342369 h 7673802"/>
              <a:gd name="connsiteX70" fmla="*/ 6582417 w 7696540"/>
              <a:gd name="connsiteY70" fmla="*/ 4331441 h 7673802"/>
              <a:gd name="connsiteX71" fmla="*/ 5581980 w 7696540"/>
              <a:gd name="connsiteY71" fmla="*/ 4331441 h 7673802"/>
              <a:gd name="connsiteX72" fmla="*/ 3342369 w 7696540"/>
              <a:gd name="connsiteY72" fmla="*/ 3342369 h 7673802"/>
              <a:gd name="connsiteX73" fmla="*/ 4342806 w 7696540"/>
              <a:gd name="connsiteY73" fmla="*/ 3342369 h 7673802"/>
              <a:gd name="connsiteX74" fmla="*/ 4342806 w 7696540"/>
              <a:gd name="connsiteY74" fmla="*/ 4331441 h 7673802"/>
              <a:gd name="connsiteX75" fmla="*/ 3342369 w 7696540"/>
              <a:gd name="connsiteY75" fmla="*/ 4331441 h 7673802"/>
              <a:gd name="connsiteX76" fmla="*/ 2228246 w 7696540"/>
              <a:gd name="connsiteY76" fmla="*/ 3342369 h 7673802"/>
              <a:gd name="connsiteX77" fmla="*/ 3228683 w 7696540"/>
              <a:gd name="connsiteY77" fmla="*/ 3342369 h 7673802"/>
              <a:gd name="connsiteX78" fmla="*/ 3228683 w 7696540"/>
              <a:gd name="connsiteY78" fmla="*/ 4331441 h 7673802"/>
              <a:gd name="connsiteX79" fmla="*/ 2228246 w 7696540"/>
              <a:gd name="connsiteY79" fmla="*/ 4331441 h 7673802"/>
              <a:gd name="connsiteX80" fmla="*/ 1 w 7696540"/>
              <a:gd name="connsiteY80" fmla="*/ 3342369 h 7673802"/>
              <a:gd name="connsiteX81" fmla="*/ 989072 w 7696540"/>
              <a:gd name="connsiteY81" fmla="*/ 3342369 h 7673802"/>
              <a:gd name="connsiteX82" fmla="*/ 989072 w 7696540"/>
              <a:gd name="connsiteY82" fmla="*/ 4331441 h 7673802"/>
              <a:gd name="connsiteX83" fmla="*/ 1 w 7696540"/>
              <a:gd name="connsiteY83" fmla="*/ 4331441 h 7673802"/>
              <a:gd name="connsiteX84" fmla="*/ 6696103 w 7696540"/>
              <a:gd name="connsiteY84" fmla="*/ 2228246 h 7673802"/>
              <a:gd name="connsiteX85" fmla="*/ 7696540 w 7696540"/>
              <a:gd name="connsiteY85" fmla="*/ 2228246 h 7673802"/>
              <a:gd name="connsiteX86" fmla="*/ 7696540 w 7696540"/>
              <a:gd name="connsiteY86" fmla="*/ 3217318 h 7673802"/>
              <a:gd name="connsiteX87" fmla="*/ 6696103 w 7696540"/>
              <a:gd name="connsiteY87" fmla="*/ 3217318 h 7673802"/>
              <a:gd name="connsiteX88" fmla="*/ 5581980 w 7696540"/>
              <a:gd name="connsiteY88" fmla="*/ 2228246 h 7673802"/>
              <a:gd name="connsiteX89" fmla="*/ 6582417 w 7696540"/>
              <a:gd name="connsiteY89" fmla="*/ 2228246 h 7673802"/>
              <a:gd name="connsiteX90" fmla="*/ 6582417 w 7696540"/>
              <a:gd name="connsiteY90" fmla="*/ 3217318 h 7673802"/>
              <a:gd name="connsiteX91" fmla="*/ 5581980 w 7696540"/>
              <a:gd name="connsiteY91" fmla="*/ 3217318 h 7673802"/>
              <a:gd name="connsiteX92" fmla="*/ 4467857 w 7696540"/>
              <a:gd name="connsiteY92" fmla="*/ 2228246 h 7673802"/>
              <a:gd name="connsiteX93" fmla="*/ 5456929 w 7696540"/>
              <a:gd name="connsiteY93" fmla="*/ 2228246 h 7673802"/>
              <a:gd name="connsiteX94" fmla="*/ 5456929 w 7696540"/>
              <a:gd name="connsiteY94" fmla="*/ 3217318 h 7673802"/>
              <a:gd name="connsiteX95" fmla="*/ 4467857 w 7696540"/>
              <a:gd name="connsiteY95" fmla="*/ 3217318 h 7673802"/>
              <a:gd name="connsiteX96" fmla="*/ 3342369 w 7696540"/>
              <a:gd name="connsiteY96" fmla="*/ 2228246 h 7673802"/>
              <a:gd name="connsiteX97" fmla="*/ 4342806 w 7696540"/>
              <a:gd name="connsiteY97" fmla="*/ 2228246 h 7673802"/>
              <a:gd name="connsiteX98" fmla="*/ 4342806 w 7696540"/>
              <a:gd name="connsiteY98" fmla="*/ 3217318 h 7673802"/>
              <a:gd name="connsiteX99" fmla="*/ 3342369 w 7696540"/>
              <a:gd name="connsiteY99" fmla="*/ 3217318 h 7673802"/>
              <a:gd name="connsiteX100" fmla="*/ 2228249 w 7696540"/>
              <a:gd name="connsiteY100" fmla="*/ 2228246 h 7673802"/>
              <a:gd name="connsiteX101" fmla="*/ 3228683 w 7696540"/>
              <a:gd name="connsiteY101" fmla="*/ 2228246 h 7673802"/>
              <a:gd name="connsiteX102" fmla="*/ 3228683 w 7696540"/>
              <a:gd name="connsiteY102" fmla="*/ 3217318 h 7673802"/>
              <a:gd name="connsiteX103" fmla="*/ 2228249 w 7696540"/>
              <a:gd name="connsiteY103" fmla="*/ 3217318 h 7673802"/>
              <a:gd name="connsiteX104" fmla="*/ 1114124 w 7696540"/>
              <a:gd name="connsiteY104" fmla="*/ 2228246 h 7673802"/>
              <a:gd name="connsiteX105" fmla="*/ 2114561 w 7696540"/>
              <a:gd name="connsiteY105" fmla="*/ 2228246 h 7673802"/>
              <a:gd name="connsiteX106" fmla="*/ 2114561 w 7696540"/>
              <a:gd name="connsiteY106" fmla="*/ 3217318 h 7673802"/>
              <a:gd name="connsiteX107" fmla="*/ 1114124 w 7696540"/>
              <a:gd name="connsiteY107" fmla="*/ 3217318 h 7673802"/>
              <a:gd name="connsiteX108" fmla="*/ 2 w 7696540"/>
              <a:gd name="connsiteY108" fmla="*/ 2228246 h 7673802"/>
              <a:gd name="connsiteX109" fmla="*/ 989074 w 7696540"/>
              <a:gd name="connsiteY109" fmla="*/ 2228246 h 7673802"/>
              <a:gd name="connsiteX110" fmla="*/ 989074 w 7696540"/>
              <a:gd name="connsiteY110" fmla="*/ 3217318 h 7673802"/>
              <a:gd name="connsiteX111" fmla="*/ 2 w 7696540"/>
              <a:gd name="connsiteY111" fmla="*/ 3217318 h 7673802"/>
              <a:gd name="connsiteX112" fmla="*/ 6696103 w 7696540"/>
              <a:gd name="connsiteY112" fmla="*/ 1114124 h 7673802"/>
              <a:gd name="connsiteX113" fmla="*/ 7696540 w 7696540"/>
              <a:gd name="connsiteY113" fmla="*/ 1114124 h 7673802"/>
              <a:gd name="connsiteX114" fmla="*/ 7696540 w 7696540"/>
              <a:gd name="connsiteY114" fmla="*/ 2103196 h 7673802"/>
              <a:gd name="connsiteX115" fmla="*/ 6696103 w 7696540"/>
              <a:gd name="connsiteY115" fmla="*/ 2103196 h 7673802"/>
              <a:gd name="connsiteX116" fmla="*/ 5581980 w 7696540"/>
              <a:gd name="connsiteY116" fmla="*/ 1114124 h 7673802"/>
              <a:gd name="connsiteX117" fmla="*/ 6582417 w 7696540"/>
              <a:gd name="connsiteY117" fmla="*/ 1114124 h 7673802"/>
              <a:gd name="connsiteX118" fmla="*/ 6582417 w 7696540"/>
              <a:gd name="connsiteY118" fmla="*/ 2103196 h 7673802"/>
              <a:gd name="connsiteX119" fmla="*/ 5581980 w 7696540"/>
              <a:gd name="connsiteY119" fmla="*/ 2103196 h 7673802"/>
              <a:gd name="connsiteX120" fmla="*/ 3342369 w 7696540"/>
              <a:gd name="connsiteY120" fmla="*/ 1114124 h 7673802"/>
              <a:gd name="connsiteX121" fmla="*/ 4342806 w 7696540"/>
              <a:gd name="connsiteY121" fmla="*/ 1114124 h 7673802"/>
              <a:gd name="connsiteX122" fmla="*/ 4342806 w 7696540"/>
              <a:gd name="connsiteY122" fmla="*/ 2103196 h 7673802"/>
              <a:gd name="connsiteX123" fmla="*/ 3342369 w 7696540"/>
              <a:gd name="connsiteY123" fmla="*/ 2103196 h 7673802"/>
              <a:gd name="connsiteX124" fmla="*/ 1114125 w 7696540"/>
              <a:gd name="connsiteY124" fmla="*/ 1114124 h 7673802"/>
              <a:gd name="connsiteX125" fmla="*/ 2114562 w 7696540"/>
              <a:gd name="connsiteY125" fmla="*/ 1114124 h 7673802"/>
              <a:gd name="connsiteX126" fmla="*/ 2114562 w 7696540"/>
              <a:gd name="connsiteY126" fmla="*/ 2103196 h 7673802"/>
              <a:gd name="connsiteX127" fmla="*/ 1114125 w 7696540"/>
              <a:gd name="connsiteY127" fmla="*/ 2103196 h 7673802"/>
              <a:gd name="connsiteX128" fmla="*/ 2228246 w 7696540"/>
              <a:gd name="connsiteY128" fmla="*/ 1114123 h 7673802"/>
              <a:gd name="connsiteX129" fmla="*/ 3228683 w 7696540"/>
              <a:gd name="connsiteY129" fmla="*/ 1114123 h 7673802"/>
              <a:gd name="connsiteX130" fmla="*/ 3228683 w 7696540"/>
              <a:gd name="connsiteY130" fmla="*/ 2103196 h 7673802"/>
              <a:gd name="connsiteX131" fmla="*/ 2228246 w 7696540"/>
              <a:gd name="connsiteY131" fmla="*/ 2103196 h 7673802"/>
              <a:gd name="connsiteX132" fmla="*/ 5581980 w 7696540"/>
              <a:gd name="connsiteY132" fmla="*/ 1 h 7673802"/>
              <a:gd name="connsiteX133" fmla="*/ 6582417 w 7696540"/>
              <a:gd name="connsiteY133" fmla="*/ 1 h 7673802"/>
              <a:gd name="connsiteX134" fmla="*/ 6582417 w 7696540"/>
              <a:gd name="connsiteY134" fmla="*/ 989073 h 7673802"/>
              <a:gd name="connsiteX135" fmla="*/ 5581980 w 7696540"/>
              <a:gd name="connsiteY135" fmla="*/ 989073 h 7673802"/>
              <a:gd name="connsiteX136" fmla="*/ 4467857 w 7696540"/>
              <a:gd name="connsiteY136" fmla="*/ 1 h 7673802"/>
              <a:gd name="connsiteX137" fmla="*/ 5456929 w 7696540"/>
              <a:gd name="connsiteY137" fmla="*/ 1 h 7673802"/>
              <a:gd name="connsiteX138" fmla="*/ 5456929 w 7696540"/>
              <a:gd name="connsiteY138" fmla="*/ 989073 h 7673802"/>
              <a:gd name="connsiteX139" fmla="*/ 4467857 w 7696540"/>
              <a:gd name="connsiteY139" fmla="*/ 989073 h 7673802"/>
              <a:gd name="connsiteX140" fmla="*/ 3342369 w 7696540"/>
              <a:gd name="connsiteY140" fmla="*/ 1 h 7673802"/>
              <a:gd name="connsiteX141" fmla="*/ 4342806 w 7696540"/>
              <a:gd name="connsiteY141" fmla="*/ 1 h 7673802"/>
              <a:gd name="connsiteX142" fmla="*/ 4342806 w 7696540"/>
              <a:gd name="connsiteY142" fmla="*/ 989073 h 7673802"/>
              <a:gd name="connsiteX143" fmla="*/ 3342369 w 7696540"/>
              <a:gd name="connsiteY143" fmla="*/ 989073 h 7673802"/>
              <a:gd name="connsiteX144" fmla="*/ 2228246 w 7696540"/>
              <a:gd name="connsiteY144" fmla="*/ 0 h 7673802"/>
              <a:gd name="connsiteX145" fmla="*/ 3228683 w 7696540"/>
              <a:gd name="connsiteY145" fmla="*/ 0 h 7673802"/>
              <a:gd name="connsiteX146" fmla="*/ 3228683 w 7696540"/>
              <a:gd name="connsiteY146" fmla="*/ 989072 h 7673802"/>
              <a:gd name="connsiteX147" fmla="*/ 2228246 w 7696540"/>
              <a:gd name="connsiteY147" fmla="*/ 989072 h 7673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7696540" h="7673802">
                <a:moveTo>
                  <a:pt x="6696103" y="6673365"/>
                </a:moveTo>
                <a:lnTo>
                  <a:pt x="7696540" y="6673365"/>
                </a:lnTo>
                <a:lnTo>
                  <a:pt x="7696540" y="7673802"/>
                </a:lnTo>
                <a:lnTo>
                  <a:pt x="6696103" y="7673802"/>
                </a:lnTo>
                <a:close/>
                <a:moveTo>
                  <a:pt x="5581980" y="6673365"/>
                </a:moveTo>
                <a:lnTo>
                  <a:pt x="6582417" y="6673365"/>
                </a:lnTo>
                <a:lnTo>
                  <a:pt x="6582417" y="7673802"/>
                </a:lnTo>
                <a:lnTo>
                  <a:pt x="5581980" y="7673802"/>
                </a:lnTo>
                <a:close/>
                <a:moveTo>
                  <a:pt x="4467857" y="6673365"/>
                </a:moveTo>
                <a:lnTo>
                  <a:pt x="5456929" y="6673365"/>
                </a:lnTo>
                <a:lnTo>
                  <a:pt x="5456929" y="7673802"/>
                </a:lnTo>
                <a:lnTo>
                  <a:pt x="4467857" y="7673802"/>
                </a:lnTo>
                <a:close/>
                <a:moveTo>
                  <a:pt x="2228246" y="6673365"/>
                </a:moveTo>
                <a:lnTo>
                  <a:pt x="3228683" y="6673365"/>
                </a:lnTo>
                <a:lnTo>
                  <a:pt x="3228683" y="7673802"/>
                </a:lnTo>
                <a:lnTo>
                  <a:pt x="2228246" y="7673802"/>
                </a:lnTo>
                <a:close/>
                <a:moveTo>
                  <a:pt x="1114123" y="6673365"/>
                </a:moveTo>
                <a:lnTo>
                  <a:pt x="2114560" y="6673365"/>
                </a:lnTo>
                <a:lnTo>
                  <a:pt x="2114560" y="7673802"/>
                </a:lnTo>
                <a:lnTo>
                  <a:pt x="1114123" y="7673802"/>
                </a:lnTo>
                <a:close/>
                <a:moveTo>
                  <a:pt x="6696103" y="5570615"/>
                </a:moveTo>
                <a:lnTo>
                  <a:pt x="7696540" y="5570615"/>
                </a:lnTo>
                <a:lnTo>
                  <a:pt x="7696540" y="6559687"/>
                </a:lnTo>
                <a:lnTo>
                  <a:pt x="6696103" y="6559687"/>
                </a:lnTo>
                <a:close/>
                <a:moveTo>
                  <a:pt x="4467857" y="5570615"/>
                </a:moveTo>
                <a:lnTo>
                  <a:pt x="5456929" y="5570615"/>
                </a:lnTo>
                <a:lnTo>
                  <a:pt x="5456929" y="6559687"/>
                </a:lnTo>
                <a:lnTo>
                  <a:pt x="4467857" y="6559687"/>
                </a:lnTo>
                <a:close/>
                <a:moveTo>
                  <a:pt x="3342369" y="5570615"/>
                </a:moveTo>
                <a:lnTo>
                  <a:pt x="4342806" y="5570615"/>
                </a:lnTo>
                <a:lnTo>
                  <a:pt x="4342806" y="6559687"/>
                </a:lnTo>
                <a:lnTo>
                  <a:pt x="3342369" y="6559687"/>
                </a:lnTo>
                <a:close/>
                <a:moveTo>
                  <a:pt x="2228246" y="5570615"/>
                </a:moveTo>
                <a:lnTo>
                  <a:pt x="3228683" y="5570615"/>
                </a:lnTo>
                <a:lnTo>
                  <a:pt x="3228683" y="6559687"/>
                </a:lnTo>
                <a:lnTo>
                  <a:pt x="2228246" y="6559687"/>
                </a:lnTo>
                <a:close/>
                <a:moveTo>
                  <a:pt x="1114123" y="5570615"/>
                </a:moveTo>
                <a:lnTo>
                  <a:pt x="2114560" y="5570615"/>
                </a:lnTo>
                <a:lnTo>
                  <a:pt x="2114560" y="6559687"/>
                </a:lnTo>
                <a:lnTo>
                  <a:pt x="1114123" y="6559687"/>
                </a:lnTo>
                <a:close/>
                <a:moveTo>
                  <a:pt x="0" y="5570615"/>
                </a:moveTo>
                <a:lnTo>
                  <a:pt x="989072" y="5570615"/>
                </a:lnTo>
                <a:lnTo>
                  <a:pt x="989072" y="6559687"/>
                </a:lnTo>
                <a:lnTo>
                  <a:pt x="0" y="6559687"/>
                </a:lnTo>
                <a:close/>
                <a:moveTo>
                  <a:pt x="6696103" y="4456492"/>
                </a:moveTo>
                <a:lnTo>
                  <a:pt x="7696540" y="4456492"/>
                </a:lnTo>
                <a:lnTo>
                  <a:pt x="7696540" y="5445564"/>
                </a:lnTo>
                <a:lnTo>
                  <a:pt x="6696103" y="5445564"/>
                </a:lnTo>
                <a:close/>
                <a:moveTo>
                  <a:pt x="5581980" y="4456492"/>
                </a:moveTo>
                <a:lnTo>
                  <a:pt x="6582417" y="4456492"/>
                </a:lnTo>
                <a:lnTo>
                  <a:pt x="6582417" y="5445564"/>
                </a:lnTo>
                <a:lnTo>
                  <a:pt x="5581980" y="5445564"/>
                </a:lnTo>
                <a:close/>
                <a:moveTo>
                  <a:pt x="4467857" y="4456492"/>
                </a:moveTo>
                <a:lnTo>
                  <a:pt x="5456929" y="4456492"/>
                </a:lnTo>
                <a:lnTo>
                  <a:pt x="5456929" y="5445564"/>
                </a:lnTo>
                <a:lnTo>
                  <a:pt x="4467857" y="5445564"/>
                </a:lnTo>
                <a:close/>
                <a:moveTo>
                  <a:pt x="3342369" y="4456492"/>
                </a:moveTo>
                <a:lnTo>
                  <a:pt x="4342806" y="4456492"/>
                </a:lnTo>
                <a:lnTo>
                  <a:pt x="4342806" y="5445564"/>
                </a:lnTo>
                <a:lnTo>
                  <a:pt x="3342369" y="5445564"/>
                </a:lnTo>
                <a:close/>
                <a:moveTo>
                  <a:pt x="1114124" y="4456492"/>
                </a:moveTo>
                <a:lnTo>
                  <a:pt x="2114561" y="4456492"/>
                </a:lnTo>
                <a:lnTo>
                  <a:pt x="2114561" y="5445564"/>
                </a:lnTo>
                <a:lnTo>
                  <a:pt x="1114124" y="5445564"/>
                </a:lnTo>
                <a:close/>
                <a:moveTo>
                  <a:pt x="6696103" y="3342369"/>
                </a:moveTo>
                <a:lnTo>
                  <a:pt x="7696540" y="3342369"/>
                </a:lnTo>
                <a:lnTo>
                  <a:pt x="7696540" y="4331441"/>
                </a:lnTo>
                <a:lnTo>
                  <a:pt x="6696103" y="4331441"/>
                </a:lnTo>
                <a:close/>
                <a:moveTo>
                  <a:pt x="5581980" y="3342369"/>
                </a:moveTo>
                <a:lnTo>
                  <a:pt x="6582417" y="3342369"/>
                </a:lnTo>
                <a:lnTo>
                  <a:pt x="6582417" y="4331441"/>
                </a:lnTo>
                <a:lnTo>
                  <a:pt x="5581980" y="4331441"/>
                </a:lnTo>
                <a:close/>
                <a:moveTo>
                  <a:pt x="3342369" y="3342369"/>
                </a:moveTo>
                <a:lnTo>
                  <a:pt x="4342806" y="3342369"/>
                </a:lnTo>
                <a:lnTo>
                  <a:pt x="4342806" y="4331441"/>
                </a:lnTo>
                <a:lnTo>
                  <a:pt x="3342369" y="4331441"/>
                </a:lnTo>
                <a:close/>
                <a:moveTo>
                  <a:pt x="2228246" y="3342369"/>
                </a:moveTo>
                <a:lnTo>
                  <a:pt x="3228683" y="3342369"/>
                </a:lnTo>
                <a:lnTo>
                  <a:pt x="3228683" y="4331441"/>
                </a:lnTo>
                <a:lnTo>
                  <a:pt x="2228246" y="4331441"/>
                </a:lnTo>
                <a:close/>
                <a:moveTo>
                  <a:pt x="1" y="3342369"/>
                </a:moveTo>
                <a:lnTo>
                  <a:pt x="989072" y="3342369"/>
                </a:lnTo>
                <a:lnTo>
                  <a:pt x="989072" y="4331441"/>
                </a:lnTo>
                <a:lnTo>
                  <a:pt x="1" y="4331441"/>
                </a:lnTo>
                <a:close/>
                <a:moveTo>
                  <a:pt x="6696103" y="2228246"/>
                </a:moveTo>
                <a:lnTo>
                  <a:pt x="7696540" y="2228246"/>
                </a:lnTo>
                <a:lnTo>
                  <a:pt x="7696540" y="3217318"/>
                </a:lnTo>
                <a:lnTo>
                  <a:pt x="6696103" y="3217318"/>
                </a:lnTo>
                <a:close/>
                <a:moveTo>
                  <a:pt x="5581980" y="2228246"/>
                </a:moveTo>
                <a:lnTo>
                  <a:pt x="6582417" y="2228246"/>
                </a:lnTo>
                <a:lnTo>
                  <a:pt x="6582417" y="3217318"/>
                </a:lnTo>
                <a:lnTo>
                  <a:pt x="5581980" y="3217318"/>
                </a:lnTo>
                <a:close/>
                <a:moveTo>
                  <a:pt x="4467857" y="2228246"/>
                </a:moveTo>
                <a:lnTo>
                  <a:pt x="5456929" y="2228246"/>
                </a:lnTo>
                <a:lnTo>
                  <a:pt x="5456929" y="3217318"/>
                </a:lnTo>
                <a:lnTo>
                  <a:pt x="4467857" y="3217318"/>
                </a:lnTo>
                <a:close/>
                <a:moveTo>
                  <a:pt x="3342369" y="2228246"/>
                </a:moveTo>
                <a:lnTo>
                  <a:pt x="4342806" y="2228246"/>
                </a:lnTo>
                <a:lnTo>
                  <a:pt x="4342806" y="3217318"/>
                </a:lnTo>
                <a:lnTo>
                  <a:pt x="3342369" y="3217318"/>
                </a:lnTo>
                <a:close/>
                <a:moveTo>
                  <a:pt x="2228249" y="2228246"/>
                </a:moveTo>
                <a:lnTo>
                  <a:pt x="3228683" y="2228246"/>
                </a:lnTo>
                <a:lnTo>
                  <a:pt x="3228683" y="3217318"/>
                </a:lnTo>
                <a:lnTo>
                  <a:pt x="2228249" y="3217318"/>
                </a:lnTo>
                <a:close/>
                <a:moveTo>
                  <a:pt x="1114124" y="2228246"/>
                </a:moveTo>
                <a:lnTo>
                  <a:pt x="2114561" y="2228246"/>
                </a:lnTo>
                <a:lnTo>
                  <a:pt x="2114561" y="3217318"/>
                </a:lnTo>
                <a:lnTo>
                  <a:pt x="1114124" y="3217318"/>
                </a:lnTo>
                <a:close/>
                <a:moveTo>
                  <a:pt x="2" y="2228246"/>
                </a:moveTo>
                <a:lnTo>
                  <a:pt x="989074" y="2228246"/>
                </a:lnTo>
                <a:lnTo>
                  <a:pt x="989074" y="3217318"/>
                </a:lnTo>
                <a:lnTo>
                  <a:pt x="2" y="3217318"/>
                </a:lnTo>
                <a:close/>
                <a:moveTo>
                  <a:pt x="6696103" y="1114124"/>
                </a:moveTo>
                <a:lnTo>
                  <a:pt x="7696540" y="1114124"/>
                </a:lnTo>
                <a:lnTo>
                  <a:pt x="7696540" y="2103196"/>
                </a:lnTo>
                <a:lnTo>
                  <a:pt x="6696103" y="2103196"/>
                </a:lnTo>
                <a:close/>
                <a:moveTo>
                  <a:pt x="5581980" y="1114124"/>
                </a:moveTo>
                <a:lnTo>
                  <a:pt x="6582417" y="1114124"/>
                </a:lnTo>
                <a:lnTo>
                  <a:pt x="6582417" y="2103196"/>
                </a:lnTo>
                <a:lnTo>
                  <a:pt x="5581980" y="2103196"/>
                </a:lnTo>
                <a:close/>
                <a:moveTo>
                  <a:pt x="3342369" y="1114124"/>
                </a:moveTo>
                <a:lnTo>
                  <a:pt x="4342806" y="1114124"/>
                </a:lnTo>
                <a:lnTo>
                  <a:pt x="4342806" y="2103196"/>
                </a:lnTo>
                <a:lnTo>
                  <a:pt x="3342369" y="2103196"/>
                </a:lnTo>
                <a:close/>
                <a:moveTo>
                  <a:pt x="1114125" y="1114124"/>
                </a:moveTo>
                <a:lnTo>
                  <a:pt x="2114562" y="1114124"/>
                </a:lnTo>
                <a:lnTo>
                  <a:pt x="2114562" y="2103196"/>
                </a:lnTo>
                <a:lnTo>
                  <a:pt x="1114125" y="2103196"/>
                </a:lnTo>
                <a:close/>
                <a:moveTo>
                  <a:pt x="2228246" y="1114123"/>
                </a:moveTo>
                <a:lnTo>
                  <a:pt x="3228683" y="1114123"/>
                </a:lnTo>
                <a:lnTo>
                  <a:pt x="3228683" y="2103196"/>
                </a:lnTo>
                <a:lnTo>
                  <a:pt x="2228246" y="2103196"/>
                </a:lnTo>
                <a:close/>
                <a:moveTo>
                  <a:pt x="5581980" y="1"/>
                </a:moveTo>
                <a:lnTo>
                  <a:pt x="6582417" y="1"/>
                </a:lnTo>
                <a:lnTo>
                  <a:pt x="6582417" y="989073"/>
                </a:lnTo>
                <a:lnTo>
                  <a:pt x="5581980" y="989073"/>
                </a:lnTo>
                <a:close/>
                <a:moveTo>
                  <a:pt x="4467857" y="1"/>
                </a:moveTo>
                <a:lnTo>
                  <a:pt x="5456929" y="1"/>
                </a:lnTo>
                <a:lnTo>
                  <a:pt x="5456929" y="989073"/>
                </a:lnTo>
                <a:lnTo>
                  <a:pt x="4467857" y="989073"/>
                </a:lnTo>
                <a:close/>
                <a:moveTo>
                  <a:pt x="3342369" y="1"/>
                </a:moveTo>
                <a:lnTo>
                  <a:pt x="4342806" y="1"/>
                </a:lnTo>
                <a:lnTo>
                  <a:pt x="4342806" y="989073"/>
                </a:lnTo>
                <a:lnTo>
                  <a:pt x="3342369" y="989073"/>
                </a:lnTo>
                <a:close/>
                <a:moveTo>
                  <a:pt x="2228246" y="0"/>
                </a:moveTo>
                <a:lnTo>
                  <a:pt x="3228683" y="0"/>
                </a:lnTo>
                <a:lnTo>
                  <a:pt x="3228683" y="989072"/>
                </a:lnTo>
                <a:lnTo>
                  <a:pt x="2228246" y="989072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72F4A9E-E156-A84D-B518-806653BBC392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FF89396-B700-B946-AE30-5BC1BC3EFBD4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E05F9EBD-8CC0-EC4E-90C7-AE94DB140A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62450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6267578" y="934497"/>
            <a:ext cx="5004851" cy="5011618"/>
          </a:xfrm>
          <a:custGeom>
            <a:avLst/>
            <a:gdLst>
              <a:gd name="T0" fmla="*/ 0 w 3317"/>
              <a:gd name="T1" fmla="*/ 0 h 3329"/>
              <a:gd name="T2" fmla="*/ 3257 w 3317"/>
              <a:gd name="T3" fmla="*/ 0 h 3329"/>
              <a:gd name="T4" fmla="*/ 2050 w 3317"/>
              <a:gd name="T5" fmla="*/ 1211 h 3329"/>
              <a:gd name="T6" fmla="*/ 1207 w 3317"/>
              <a:gd name="T7" fmla="*/ 1211 h 3329"/>
              <a:gd name="T8" fmla="*/ 1207 w 3317"/>
              <a:gd name="T9" fmla="*/ 2057 h 3329"/>
              <a:gd name="T10" fmla="*/ 0 w 3317"/>
              <a:gd name="T11" fmla="*/ 3269 h 3329"/>
              <a:gd name="T12" fmla="*/ 0 w 3317"/>
              <a:gd name="T13" fmla="*/ 0 h 3329"/>
              <a:gd name="T14" fmla="*/ 3317 w 3317"/>
              <a:gd name="T15" fmla="*/ 62 h 3329"/>
              <a:gd name="T16" fmla="*/ 3317 w 3317"/>
              <a:gd name="T17" fmla="*/ 3329 h 3329"/>
              <a:gd name="T18" fmla="*/ 62 w 3317"/>
              <a:gd name="T19" fmla="*/ 3329 h 3329"/>
              <a:gd name="T20" fmla="*/ 1268 w 3317"/>
              <a:gd name="T21" fmla="*/ 2119 h 3329"/>
              <a:gd name="T22" fmla="*/ 2112 w 3317"/>
              <a:gd name="T23" fmla="*/ 2119 h 3329"/>
              <a:gd name="T24" fmla="*/ 2112 w 3317"/>
              <a:gd name="T25" fmla="*/ 1272 h 3329"/>
              <a:gd name="T26" fmla="*/ 3317 w 3317"/>
              <a:gd name="T27" fmla="*/ 62 h 33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17" h="3329">
                <a:moveTo>
                  <a:pt x="0" y="0"/>
                </a:moveTo>
                <a:lnTo>
                  <a:pt x="3257" y="0"/>
                </a:lnTo>
                <a:lnTo>
                  <a:pt x="2050" y="1211"/>
                </a:lnTo>
                <a:lnTo>
                  <a:pt x="1207" y="1211"/>
                </a:lnTo>
                <a:lnTo>
                  <a:pt x="1207" y="2057"/>
                </a:lnTo>
                <a:lnTo>
                  <a:pt x="0" y="3269"/>
                </a:lnTo>
                <a:lnTo>
                  <a:pt x="0" y="0"/>
                </a:lnTo>
                <a:close/>
                <a:moveTo>
                  <a:pt x="3317" y="62"/>
                </a:moveTo>
                <a:lnTo>
                  <a:pt x="3317" y="3329"/>
                </a:lnTo>
                <a:lnTo>
                  <a:pt x="62" y="3329"/>
                </a:lnTo>
                <a:lnTo>
                  <a:pt x="1268" y="2119"/>
                </a:lnTo>
                <a:lnTo>
                  <a:pt x="2112" y="2119"/>
                </a:lnTo>
                <a:lnTo>
                  <a:pt x="2112" y="1272"/>
                </a:lnTo>
                <a:lnTo>
                  <a:pt x="3317" y="62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ABB03C-ABDE-C94D-B801-24D106007866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669C5B7-8944-A44E-9B7E-13AAC5345673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4EC0390E-8E7E-BC44-8A60-02729D35B6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89267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8"/>
          <p:cNvSpPr>
            <a:spLocks noGrp="1" noEditPoints="1"/>
          </p:cNvSpPr>
          <p:nvPr>
            <p:ph type="pic" sz="quarter" idx="10"/>
          </p:nvPr>
        </p:nvSpPr>
        <p:spPr bwMode="auto">
          <a:xfrm>
            <a:off x="6207369" y="874207"/>
            <a:ext cx="5125268" cy="5132197"/>
          </a:xfrm>
          <a:custGeom>
            <a:avLst/>
            <a:gdLst>
              <a:gd name="T0" fmla="*/ 1908 w 3398"/>
              <a:gd name="T1" fmla="*/ 12 h 3410"/>
              <a:gd name="T2" fmla="*/ 2148 w 3398"/>
              <a:gd name="T3" fmla="*/ 61 h 3410"/>
              <a:gd name="T4" fmla="*/ 2375 w 3398"/>
              <a:gd name="T5" fmla="*/ 142 h 3410"/>
              <a:gd name="T6" fmla="*/ 2586 w 3398"/>
              <a:gd name="T7" fmla="*/ 253 h 3410"/>
              <a:gd name="T8" fmla="*/ 2779 w 3398"/>
              <a:gd name="T9" fmla="*/ 391 h 3410"/>
              <a:gd name="T10" fmla="*/ 1962 w 3398"/>
              <a:gd name="T11" fmla="*/ 1323 h 3410"/>
              <a:gd name="T12" fmla="*/ 1858 w 3398"/>
              <a:gd name="T13" fmla="*/ 1269 h 3410"/>
              <a:gd name="T14" fmla="*/ 1740 w 3398"/>
              <a:gd name="T15" fmla="*/ 1242 h 3410"/>
              <a:gd name="T16" fmla="*/ 1606 w 3398"/>
              <a:gd name="T17" fmla="*/ 1249 h 3410"/>
              <a:gd name="T18" fmla="*/ 1479 w 3398"/>
              <a:gd name="T19" fmla="*/ 1297 h 3410"/>
              <a:gd name="T20" fmla="*/ 1372 w 3398"/>
              <a:gd name="T21" fmla="*/ 1377 h 3410"/>
              <a:gd name="T22" fmla="*/ 1292 w 3398"/>
              <a:gd name="T23" fmla="*/ 1484 h 3410"/>
              <a:gd name="T24" fmla="*/ 1245 w 3398"/>
              <a:gd name="T25" fmla="*/ 1612 h 3410"/>
              <a:gd name="T26" fmla="*/ 1238 w 3398"/>
              <a:gd name="T27" fmla="*/ 1747 h 3410"/>
              <a:gd name="T28" fmla="*/ 1264 w 3398"/>
              <a:gd name="T29" fmla="*/ 1865 h 3410"/>
              <a:gd name="T30" fmla="*/ 1319 w 3398"/>
              <a:gd name="T31" fmla="*/ 1970 h 3410"/>
              <a:gd name="T32" fmla="*/ 390 w 3398"/>
              <a:gd name="T33" fmla="*/ 2788 h 3410"/>
              <a:gd name="T34" fmla="*/ 251 w 3398"/>
              <a:gd name="T35" fmla="*/ 2595 h 3410"/>
              <a:gd name="T36" fmla="*/ 141 w 3398"/>
              <a:gd name="T37" fmla="*/ 2383 h 3410"/>
              <a:gd name="T38" fmla="*/ 61 w 3398"/>
              <a:gd name="T39" fmla="*/ 2156 h 3410"/>
              <a:gd name="T40" fmla="*/ 13 w 3398"/>
              <a:gd name="T41" fmla="*/ 1914 h 3410"/>
              <a:gd name="T42" fmla="*/ 3 w 3398"/>
              <a:gd name="T43" fmla="*/ 1617 h 3410"/>
              <a:gd name="T44" fmla="*/ 104 w 3398"/>
              <a:gd name="T45" fmla="*/ 1121 h 3410"/>
              <a:gd name="T46" fmla="*/ 339 w 3398"/>
              <a:gd name="T47" fmla="*/ 687 h 3410"/>
              <a:gd name="T48" fmla="*/ 684 w 3398"/>
              <a:gd name="T49" fmla="*/ 340 h 3410"/>
              <a:gd name="T50" fmla="*/ 1116 w 3398"/>
              <a:gd name="T51" fmla="*/ 104 h 3410"/>
              <a:gd name="T52" fmla="*/ 1612 w 3398"/>
              <a:gd name="T53" fmla="*/ 2 h 3410"/>
              <a:gd name="T54" fmla="*/ 3033 w 3398"/>
              <a:gd name="T55" fmla="*/ 652 h 3410"/>
              <a:gd name="T56" fmla="*/ 3167 w 3398"/>
              <a:gd name="T57" fmla="*/ 849 h 3410"/>
              <a:gd name="T58" fmla="*/ 3272 w 3398"/>
              <a:gd name="T59" fmla="*/ 1064 h 3410"/>
              <a:gd name="T60" fmla="*/ 3348 w 3398"/>
              <a:gd name="T61" fmla="*/ 1294 h 3410"/>
              <a:gd name="T62" fmla="*/ 3390 w 3398"/>
              <a:gd name="T63" fmla="*/ 1537 h 3410"/>
              <a:gd name="T64" fmla="*/ 3389 w 3398"/>
              <a:gd name="T65" fmla="*/ 1878 h 3410"/>
              <a:gd name="T66" fmla="*/ 3264 w 3398"/>
              <a:gd name="T67" fmla="*/ 2367 h 3410"/>
              <a:gd name="T68" fmla="*/ 3009 w 3398"/>
              <a:gd name="T69" fmla="*/ 2788 h 3410"/>
              <a:gd name="T70" fmla="*/ 2647 w 3398"/>
              <a:gd name="T71" fmla="*/ 3118 h 3410"/>
              <a:gd name="T72" fmla="*/ 2203 w 3398"/>
              <a:gd name="T73" fmla="*/ 3333 h 3410"/>
              <a:gd name="T74" fmla="*/ 1699 w 3398"/>
              <a:gd name="T75" fmla="*/ 3410 h 3410"/>
              <a:gd name="T76" fmla="*/ 1450 w 3398"/>
              <a:gd name="T77" fmla="*/ 3392 h 3410"/>
              <a:gd name="T78" fmla="*/ 1211 w 3398"/>
              <a:gd name="T79" fmla="*/ 3338 h 3410"/>
              <a:gd name="T80" fmla="*/ 987 w 3398"/>
              <a:gd name="T81" fmla="*/ 3252 h 3410"/>
              <a:gd name="T82" fmla="*/ 778 w 3398"/>
              <a:gd name="T83" fmla="*/ 3136 h 3410"/>
              <a:gd name="T84" fmla="*/ 590 w 3398"/>
              <a:gd name="T85" fmla="*/ 2993 h 3410"/>
              <a:gd name="T86" fmla="*/ 1452 w 3398"/>
              <a:gd name="T87" fmla="*/ 2097 h 3410"/>
              <a:gd name="T88" fmla="*/ 1559 w 3398"/>
              <a:gd name="T89" fmla="*/ 2148 h 3410"/>
              <a:gd name="T90" fmla="*/ 1678 w 3398"/>
              <a:gd name="T91" fmla="*/ 2169 h 3410"/>
              <a:gd name="T92" fmla="*/ 1815 w 3398"/>
              <a:gd name="T93" fmla="*/ 2155 h 3410"/>
              <a:gd name="T94" fmla="*/ 1939 w 3398"/>
              <a:gd name="T95" fmla="*/ 2103 h 3410"/>
              <a:gd name="T96" fmla="*/ 2041 w 3398"/>
              <a:gd name="T97" fmla="*/ 2017 h 3410"/>
              <a:gd name="T98" fmla="*/ 2117 w 3398"/>
              <a:gd name="T99" fmla="*/ 1906 h 3410"/>
              <a:gd name="T100" fmla="*/ 2157 w 3398"/>
              <a:gd name="T101" fmla="*/ 1776 h 3410"/>
              <a:gd name="T102" fmla="*/ 2158 w 3398"/>
              <a:gd name="T103" fmla="*/ 1643 h 3410"/>
              <a:gd name="T104" fmla="*/ 2127 w 3398"/>
              <a:gd name="T105" fmla="*/ 1527 h 3410"/>
              <a:gd name="T106" fmla="*/ 2068 w 3398"/>
              <a:gd name="T107" fmla="*/ 1425 h 34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398" h="3410">
                <a:moveTo>
                  <a:pt x="1699" y="0"/>
                </a:moveTo>
                <a:lnTo>
                  <a:pt x="1741" y="0"/>
                </a:lnTo>
                <a:lnTo>
                  <a:pt x="1783" y="2"/>
                </a:lnTo>
                <a:lnTo>
                  <a:pt x="1825" y="4"/>
                </a:lnTo>
                <a:lnTo>
                  <a:pt x="1866" y="8"/>
                </a:lnTo>
                <a:lnTo>
                  <a:pt x="1908" y="12"/>
                </a:lnTo>
                <a:lnTo>
                  <a:pt x="1948" y="18"/>
                </a:lnTo>
                <a:lnTo>
                  <a:pt x="1989" y="25"/>
                </a:lnTo>
                <a:lnTo>
                  <a:pt x="2029" y="33"/>
                </a:lnTo>
                <a:lnTo>
                  <a:pt x="2069" y="41"/>
                </a:lnTo>
                <a:lnTo>
                  <a:pt x="2109" y="50"/>
                </a:lnTo>
                <a:lnTo>
                  <a:pt x="2148" y="61"/>
                </a:lnTo>
                <a:lnTo>
                  <a:pt x="2187" y="72"/>
                </a:lnTo>
                <a:lnTo>
                  <a:pt x="2225" y="84"/>
                </a:lnTo>
                <a:lnTo>
                  <a:pt x="2263" y="98"/>
                </a:lnTo>
                <a:lnTo>
                  <a:pt x="2301" y="111"/>
                </a:lnTo>
                <a:lnTo>
                  <a:pt x="2338" y="125"/>
                </a:lnTo>
                <a:lnTo>
                  <a:pt x="2375" y="142"/>
                </a:lnTo>
                <a:lnTo>
                  <a:pt x="2411" y="158"/>
                </a:lnTo>
                <a:lnTo>
                  <a:pt x="2447" y="176"/>
                </a:lnTo>
                <a:lnTo>
                  <a:pt x="2483" y="193"/>
                </a:lnTo>
                <a:lnTo>
                  <a:pt x="2517" y="213"/>
                </a:lnTo>
                <a:lnTo>
                  <a:pt x="2552" y="232"/>
                </a:lnTo>
                <a:lnTo>
                  <a:pt x="2586" y="253"/>
                </a:lnTo>
                <a:lnTo>
                  <a:pt x="2620" y="273"/>
                </a:lnTo>
                <a:lnTo>
                  <a:pt x="2653" y="296"/>
                </a:lnTo>
                <a:lnTo>
                  <a:pt x="2684" y="319"/>
                </a:lnTo>
                <a:lnTo>
                  <a:pt x="2717" y="342"/>
                </a:lnTo>
                <a:lnTo>
                  <a:pt x="2748" y="366"/>
                </a:lnTo>
                <a:lnTo>
                  <a:pt x="2779" y="391"/>
                </a:lnTo>
                <a:lnTo>
                  <a:pt x="2809" y="416"/>
                </a:lnTo>
                <a:lnTo>
                  <a:pt x="2838" y="443"/>
                </a:lnTo>
                <a:lnTo>
                  <a:pt x="2868" y="470"/>
                </a:lnTo>
                <a:lnTo>
                  <a:pt x="1994" y="1347"/>
                </a:lnTo>
                <a:lnTo>
                  <a:pt x="1979" y="1335"/>
                </a:lnTo>
                <a:lnTo>
                  <a:pt x="1962" y="1323"/>
                </a:lnTo>
                <a:lnTo>
                  <a:pt x="1946" y="1312"/>
                </a:lnTo>
                <a:lnTo>
                  <a:pt x="1929" y="1302"/>
                </a:lnTo>
                <a:lnTo>
                  <a:pt x="1912" y="1292"/>
                </a:lnTo>
                <a:lnTo>
                  <a:pt x="1895" y="1284"/>
                </a:lnTo>
                <a:lnTo>
                  <a:pt x="1876" y="1276"/>
                </a:lnTo>
                <a:lnTo>
                  <a:pt x="1858" y="1269"/>
                </a:lnTo>
                <a:lnTo>
                  <a:pt x="1839" y="1262"/>
                </a:lnTo>
                <a:lnTo>
                  <a:pt x="1820" y="1256"/>
                </a:lnTo>
                <a:lnTo>
                  <a:pt x="1800" y="1251"/>
                </a:lnTo>
                <a:lnTo>
                  <a:pt x="1781" y="1247"/>
                </a:lnTo>
                <a:lnTo>
                  <a:pt x="1760" y="1244"/>
                </a:lnTo>
                <a:lnTo>
                  <a:pt x="1740" y="1242"/>
                </a:lnTo>
                <a:lnTo>
                  <a:pt x="1719" y="1241"/>
                </a:lnTo>
                <a:lnTo>
                  <a:pt x="1699" y="1240"/>
                </a:lnTo>
                <a:lnTo>
                  <a:pt x="1675" y="1241"/>
                </a:lnTo>
                <a:lnTo>
                  <a:pt x="1652" y="1242"/>
                </a:lnTo>
                <a:lnTo>
                  <a:pt x="1628" y="1245"/>
                </a:lnTo>
                <a:lnTo>
                  <a:pt x="1606" y="1249"/>
                </a:lnTo>
                <a:lnTo>
                  <a:pt x="1583" y="1254"/>
                </a:lnTo>
                <a:lnTo>
                  <a:pt x="1562" y="1262"/>
                </a:lnTo>
                <a:lnTo>
                  <a:pt x="1540" y="1269"/>
                </a:lnTo>
                <a:lnTo>
                  <a:pt x="1519" y="1277"/>
                </a:lnTo>
                <a:lnTo>
                  <a:pt x="1498" y="1286"/>
                </a:lnTo>
                <a:lnTo>
                  <a:pt x="1479" y="1297"/>
                </a:lnTo>
                <a:lnTo>
                  <a:pt x="1459" y="1308"/>
                </a:lnTo>
                <a:lnTo>
                  <a:pt x="1441" y="1320"/>
                </a:lnTo>
                <a:lnTo>
                  <a:pt x="1422" y="1333"/>
                </a:lnTo>
                <a:lnTo>
                  <a:pt x="1405" y="1347"/>
                </a:lnTo>
                <a:lnTo>
                  <a:pt x="1388" y="1361"/>
                </a:lnTo>
                <a:lnTo>
                  <a:pt x="1372" y="1377"/>
                </a:lnTo>
                <a:lnTo>
                  <a:pt x="1357" y="1393"/>
                </a:lnTo>
                <a:lnTo>
                  <a:pt x="1341" y="1410"/>
                </a:lnTo>
                <a:lnTo>
                  <a:pt x="1328" y="1427"/>
                </a:lnTo>
                <a:lnTo>
                  <a:pt x="1315" y="1446"/>
                </a:lnTo>
                <a:lnTo>
                  <a:pt x="1302" y="1464"/>
                </a:lnTo>
                <a:lnTo>
                  <a:pt x="1292" y="1484"/>
                </a:lnTo>
                <a:lnTo>
                  <a:pt x="1282" y="1504"/>
                </a:lnTo>
                <a:lnTo>
                  <a:pt x="1272" y="1525"/>
                </a:lnTo>
                <a:lnTo>
                  <a:pt x="1264" y="1545"/>
                </a:lnTo>
                <a:lnTo>
                  <a:pt x="1256" y="1567"/>
                </a:lnTo>
                <a:lnTo>
                  <a:pt x="1250" y="1590"/>
                </a:lnTo>
                <a:lnTo>
                  <a:pt x="1245" y="1612"/>
                </a:lnTo>
                <a:lnTo>
                  <a:pt x="1241" y="1635"/>
                </a:lnTo>
                <a:lnTo>
                  <a:pt x="1238" y="1657"/>
                </a:lnTo>
                <a:lnTo>
                  <a:pt x="1236" y="1681"/>
                </a:lnTo>
                <a:lnTo>
                  <a:pt x="1236" y="1705"/>
                </a:lnTo>
                <a:lnTo>
                  <a:pt x="1236" y="1726"/>
                </a:lnTo>
                <a:lnTo>
                  <a:pt x="1238" y="1747"/>
                </a:lnTo>
                <a:lnTo>
                  <a:pt x="1240" y="1767"/>
                </a:lnTo>
                <a:lnTo>
                  <a:pt x="1243" y="1787"/>
                </a:lnTo>
                <a:lnTo>
                  <a:pt x="1247" y="1808"/>
                </a:lnTo>
                <a:lnTo>
                  <a:pt x="1252" y="1827"/>
                </a:lnTo>
                <a:lnTo>
                  <a:pt x="1257" y="1846"/>
                </a:lnTo>
                <a:lnTo>
                  <a:pt x="1264" y="1865"/>
                </a:lnTo>
                <a:lnTo>
                  <a:pt x="1271" y="1884"/>
                </a:lnTo>
                <a:lnTo>
                  <a:pt x="1279" y="1901"/>
                </a:lnTo>
                <a:lnTo>
                  <a:pt x="1288" y="1920"/>
                </a:lnTo>
                <a:lnTo>
                  <a:pt x="1297" y="1936"/>
                </a:lnTo>
                <a:lnTo>
                  <a:pt x="1308" y="1954"/>
                </a:lnTo>
                <a:lnTo>
                  <a:pt x="1319" y="1970"/>
                </a:lnTo>
                <a:lnTo>
                  <a:pt x="1330" y="1985"/>
                </a:lnTo>
                <a:lnTo>
                  <a:pt x="1342" y="2001"/>
                </a:lnTo>
                <a:lnTo>
                  <a:pt x="469" y="2878"/>
                </a:lnTo>
                <a:lnTo>
                  <a:pt x="442" y="2849"/>
                </a:lnTo>
                <a:lnTo>
                  <a:pt x="415" y="2819"/>
                </a:lnTo>
                <a:lnTo>
                  <a:pt x="390" y="2788"/>
                </a:lnTo>
                <a:lnTo>
                  <a:pt x="365" y="2758"/>
                </a:lnTo>
                <a:lnTo>
                  <a:pt x="341" y="2727"/>
                </a:lnTo>
                <a:lnTo>
                  <a:pt x="317" y="2695"/>
                </a:lnTo>
                <a:lnTo>
                  <a:pt x="294" y="2662"/>
                </a:lnTo>
                <a:lnTo>
                  <a:pt x="273" y="2629"/>
                </a:lnTo>
                <a:lnTo>
                  <a:pt x="251" y="2595"/>
                </a:lnTo>
                <a:lnTo>
                  <a:pt x="231" y="2561"/>
                </a:lnTo>
                <a:lnTo>
                  <a:pt x="212" y="2527"/>
                </a:lnTo>
                <a:lnTo>
                  <a:pt x="193" y="2491"/>
                </a:lnTo>
                <a:lnTo>
                  <a:pt x="175" y="2456"/>
                </a:lnTo>
                <a:lnTo>
                  <a:pt x="157" y="2420"/>
                </a:lnTo>
                <a:lnTo>
                  <a:pt x="141" y="2383"/>
                </a:lnTo>
                <a:lnTo>
                  <a:pt x="125" y="2346"/>
                </a:lnTo>
                <a:lnTo>
                  <a:pt x="111" y="2309"/>
                </a:lnTo>
                <a:lnTo>
                  <a:pt x="97" y="2271"/>
                </a:lnTo>
                <a:lnTo>
                  <a:pt x="83" y="2233"/>
                </a:lnTo>
                <a:lnTo>
                  <a:pt x="72" y="2194"/>
                </a:lnTo>
                <a:lnTo>
                  <a:pt x="61" y="2156"/>
                </a:lnTo>
                <a:lnTo>
                  <a:pt x="51" y="2116"/>
                </a:lnTo>
                <a:lnTo>
                  <a:pt x="40" y="2077"/>
                </a:lnTo>
                <a:lnTo>
                  <a:pt x="32" y="2037"/>
                </a:lnTo>
                <a:lnTo>
                  <a:pt x="25" y="1996"/>
                </a:lnTo>
                <a:lnTo>
                  <a:pt x="18" y="1956"/>
                </a:lnTo>
                <a:lnTo>
                  <a:pt x="13" y="1914"/>
                </a:lnTo>
                <a:lnTo>
                  <a:pt x="9" y="1873"/>
                </a:lnTo>
                <a:lnTo>
                  <a:pt x="5" y="1831"/>
                </a:lnTo>
                <a:lnTo>
                  <a:pt x="3" y="1790"/>
                </a:lnTo>
                <a:lnTo>
                  <a:pt x="0" y="1748"/>
                </a:lnTo>
                <a:lnTo>
                  <a:pt x="0" y="1705"/>
                </a:lnTo>
                <a:lnTo>
                  <a:pt x="3" y="1617"/>
                </a:lnTo>
                <a:lnTo>
                  <a:pt x="9" y="1531"/>
                </a:lnTo>
                <a:lnTo>
                  <a:pt x="20" y="1447"/>
                </a:lnTo>
                <a:lnTo>
                  <a:pt x="34" y="1362"/>
                </a:lnTo>
                <a:lnTo>
                  <a:pt x="54" y="1280"/>
                </a:lnTo>
                <a:lnTo>
                  <a:pt x="76" y="1200"/>
                </a:lnTo>
                <a:lnTo>
                  <a:pt x="104" y="1121"/>
                </a:lnTo>
                <a:lnTo>
                  <a:pt x="134" y="1043"/>
                </a:lnTo>
                <a:lnTo>
                  <a:pt x="168" y="968"/>
                </a:lnTo>
                <a:lnTo>
                  <a:pt x="205" y="895"/>
                </a:lnTo>
                <a:lnTo>
                  <a:pt x="246" y="823"/>
                </a:lnTo>
                <a:lnTo>
                  <a:pt x="291" y="754"/>
                </a:lnTo>
                <a:lnTo>
                  <a:pt x="339" y="687"/>
                </a:lnTo>
                <a:lnTo>
                  <a:pt x="389" y="622"/>
                </a:lnTo>
                <a:lnTo>
                  <a:pt x="443" y="560"/>
                </a:lnTo>
                <a:lnTo>
                  <a:pt x="499" y="501"/>
                </a:lnTo>
                <a:lnTo>
                  <a:pt x="558" y="444"/>
                </a:lnTo>
                <a:lnTo>
                  <a:pt x="620" y="391"/>
                </a:lnTo>
                <a:lnTo>
                  <a:pt x="684" y="340"/>
                </a:lnTo>
                <a:lnTo>
                  <a:pt x="750" y="292"/>
                </a:lnTo>
                <a:lnTo>
                  <a:pt x="820" y="248"/>
                </a:lnTo>
                <a:lnTo>
                  <a:pt x="891" y="207"/>
                </a:lnTo>
                <a:lnTo>
                  <a:pt x="964" y="169"/>
                </a:lnTo>
                <a:lnTo>
                  <a:pt x="1039" y="135"/>
                </a:lnTo>
                <a:lnTo>
                  <a:pt x="1116" y="104"/>
                </a:lnTo>
                <a:lnTo>
                  <a:pt x="1195" y="77"/>
                </a:lnTo>
                <a:lnTo>
                  <a:pt x="1276" y="53"/>
                </a:lnTo>
                <a:lnTo>
                  <a:pt x="1358" y="35"/>
                </a:lnTo>
                <a:lnTo>
                  <a:pt x="1441" y="20"/>
                </a:lnTo>
                <a:lnTo>
                  <a:pt x="1526" y="9"/>
                </a:lnTo>
                <a:lnTo>
                  <a:pt x="1612" y="2"/>
                </a:lnTo>
                <a:lnTo>
                  <a:pt x="1699" y="0"/>
                </a:lnTo>
                <a:close/>
                <a:moveTo>
                  <a:pt x="2929" y="533"/>
                </a:moveTo>
                <a:lnTo>
                  <a:pt x="2957" y="561"/>
                </a:lnTo>
                <a:lnTo>
                  <a:pt x="2982" y="591"/>
                </a:lnTo>
                <a:lnTo>
                  <a:pt x="3008" y="621"/>
                </a:lnTo>
                <a:lnTo>
                  <a:pt x="3033" y="652"/>
                </a:lnTo>
                <a:lnTo>
                  <a:pt x="3057" y="684"/>
                </a:lnTo>
                <a:lnTo>
                  <a:pt x="3081" y="716"/>
                </a:lnTo>
                <a:lnTo>
                  <a:pt x="3103" y="748"/>
                </a:lnTo>
                <a:lnTo>
                  <a:pt x="3125" y="781"/>
                </a:lnTo>
                <a:lnTo>
                  <a:pt x="3146" y="814"/>
                </a:lnTo>
                <a:lnTo>
                  <a:pt x="3167" y="849"/>
                </a:lnTo>
                <a:lnTo>
                  <a:pt x="3186" y="883"/>
                </a:lnTo>
                <a:lnTo>
                  <a:pt x="3205" y="918"/>
                </a:lnTo>
                <a:lnTo>
                  <a:pt x="3223" y="954"/>
                </a:lnTo>
                <a:lnTo>
                  <a:pt x="3241" y="990"/>
                </a:lnTo>
                <a:lnTo>
                  <a:pt x="3257" y="1027"/>
                </a:lnTo>
                <a:lnTo>
                  <a:pt x="3272" y="1064"/>
                </a:lnTo>
                <a:lnTo>
                  <a:pt x="3287" y="1101"/>
                </a:lnTo>
                <a:lnTo>
                  <a:pt x="3301" y="1139"/>
                </a:lnTo>
                <a:lnTo>
                  <a:pt x="3314" y="1177"/>
                </a:lnTo>
                <a:lnTo>
                  <a:pt x="3326" y="1215"/>
                </a:lnTo>
                <a:lnTo>
                  <a:pt x="3337" y="1254"/>
                </a:lnTo>
                <a:lnTo>
                  <a:pt x="3348" y="1294"/>
                </a:lnTo>
                <a:lnTo>
                  <a:pt x="3357" y="1334"/>
                </a:lnTo>
                <a:lnTo>
                  <a:pt x="3366" y="1374"/>
                </a:lnTo>
                <a:lnTo>
                  <a:pt x="3373" y="1414"/>
                </a:lnTo>
                <a:lnTo>
                  <a:pt x="3380" y="1455"/>
                </a:lnTo>
                <a:lnTo>
                  <a:pt x="3385" y="1496"/>
                </a:lnTo>
                <a:lnTo>
                  <a:pt x="3390" y="1537"/>
                </a:lnTo>
                <a:lnTo>
                  <a:pt x="3393" y="1579"/>
                </a:lnTo>
                <a:lnTo>
                  <a:pt x="3396" y="1620"/>
                </a:lnTo>
                <a:lnTo>
                  <a:pt x="3397" y="1663"/>
                </a:lnTo>
                <a:lnTo>
                  <a:pt x="3398" y="1705"/>
                </a:lnTo>
                <a:lnTo>
                  <a:pt x="3395" y="1792"/>
                </a:lnTo>
                <a:lnTo>
                  <a:pt x="3389" y="1878"/>
                </a:lnTo>
                <a:lnTo>
                  <a:pt x="3378" y="1964"/>
                </a:lnTo>
                <a:lnTo>
                  <a:pt x="3364" y="2048"/>
                </a:lnTo>
                <a:lnTo>
                  <a:pt x="3344" y="2130"/>
                </a:lnTo>
                <a:lnTo>
                  <a:pt x="3322" y="2211"/>
                </a:lnTo>
                <a:lnTo>
                  <a:pt x="3294" y="2290"/>
                </a:lnTo>
                <a:lnTo>
                  <a:pt x="3264" y="2367"/>
                </a:lnTo>
                <a:lnTo>
                  <a:pt x="3229" y="2443"/>
                </a:lnTo>
                <a:lnTo>
                  <a:pt x="3192" y="2516"/>
                </a:lnTo>
                <a:lnTo>
                  <a:pt x="3151" y="2588"/>
                </a:lnTo>
                <a:lnTo>
                  <a:pt x="3106" y="2657"/>
                </a:lnTo>
                <a:lnTo>
                  <a:pt x="3059" y="2724"/>
                </a:lnTo>
                <a:lnTo>
                  <a:pt x="3009" y="2788"/>
                </a:lnTo>
                <a:lnTo>
                  <a:pt x="2955" y="2850"/>
                </a:lnTo>
                <a:lnTo>
                  <a:pt x="2898" y="2910"/>
                </a:lnTo>
                <a:lnTo>
                  <a:pt x="2840" y="2966"/>
                </a:lnTo>
                <a:lnTo>
                  <a:pt x="2778" y="3020"/>
                </a:lnTo>
                <a:lnTo>
                  <a:pt x="2714" y="3070"/>
                </a:lnTo>
                <a:lnTo>
                  <a:pt x="2647" y="3118"/>
                </a:lnTo>
                <a:lnTo>
                  <a:pt x="2578" y="3163"/>
                </a:lnTo>
                <a:lnTo>
                  <a:pt x="2507" y="3204"/>
                </a:lnTo>
                <a:lnTo>
                  <a:pt x="2433" y="3242"/>
                </a:lnTo>
                <a:lnTo>
                  <a:pt x="2359" y="3276"/>
                </a:lnTo>
                <a:lnTo>
                  <a:pt x="2282" y="3307"/>
                </a:lnTo>
                <a:lnTo>
                  <a:pt x="2203" y="3333"/>
                </a:lnTo>
                <a:lnTo>
                  <a:pt x="2122" y="3356"/>
                </a:lnTo>
                <a:lnTo>
                  <a:pt x="2040" y="3376"/>
                </a:lnTo>
                <a:lnTo>
                  <a:pt x="1957" y="3391"/>
                </a:lnTo>
                <a:lnTo>
                  <a:pt x="1872" y="3401"/>
                </a:lnTo>
                <a:lnTo>
                  <a:pt x="1786" y="3408"/>
                </a:lnTo>
                <a:lnTo>
                  <a:pt x="1699" y="3410"/>
                </a:lnTo>
                <a:lnTo>
                  <a:pt x="1657" y="3409"/>
                </a:lnTo>
                <a:lnTo>
                  <a:pt x="1615" y="3408"/>
                </a:lnTo>
                <a:lnTo>
                  <a:pt x="1573" y="3405"/>
                </a:lnTo>
                <a:lnTo>
                  <a:pt x="1532" y="3402"/>
                </a:lnTo>
                <a:lnTo>
                  <a:pt x="1491" y="3397"/>
                </a:lnTo>
                <a:lnTo>
                  <a:pt x="1450" y="3392"/>
                </a:lnTo>
                <a:lnTo>
                  <a:pt x="1409" y="3386"/>
                </a:lnTo>
                <a:lnTo>
                  <a:pt x="1369" y="3378"/>
                </a:lnTo>
                <a:lnTo>
                  <a:pt x="1329" y="3369"/>
                </a:lnTo>
                <a:lnTo>
                  <a:pt x="1289" y="3360"/>
                </a:lnTo>
                <a:lnTo>
                  <a:pt x="1250" y="3350"/>
                </a:lnTo>
                <a:lnTo>
                  <a:pt x="1211" y="3338"/>
                </a:lnTo>
                <a:lnTo>
                  <a:pt x="1172" y="3326"/>
                </a:lnTo>
                <a:lnTo>
                  <a:pt x="1134" y="3313"/>
                </a:lnTo>
                <a:lnTo>
                  <a:pt x="1098" y="3299"/>
                </a:lnTo>
                <a:lnTo>
                  <a:pt x="1060" y="3284"/>
                </a:lnTo>
                <a:lnTo>
                  <a:pt x="1023" y="3269"/>
                </a:lnTo>
                <a:lnTo>
                  <a:pt x="987" y="3252"/>
                </a:lnTo>
                <a:lnTo>
                  <a:pt x="951" y="3235"/>
                </a:lnTo>
                <a:lnTo>
                  <a:pt x="915" y="3217"/>
                </a:lnTo>
                <a:lnTo>
                  <a:pt x="880" y="3198"/>
                </a:lnTo>
                <a:lnTo>
                  <a:pt x="846" y="3178"/>
                </a:lnTo>
                <a:lnTo>
                  <a:pt x="812" y="3158"/>
                </a:lnTo>
                <a:lnTo>
                  <a:pt x="778" y="3136"/>
                </a:lnTo>
                <a:lnTo>
                  <a:pt x="745" y="3114"/>
                </a:lnTo>
                <a:lnTo>
                  <a:pt x="713" y="3092"/>
                </a:lnTo>
                <a:lnTo>
                  <a:pt x="682" y="3068"/>
                </a:lnTo>
                <a:lnTo>
                  <a:pt x="650" y="3044"/>
                </a:lnTo>
                <a:lnTo>
                  <a:pt x="619" y="3019"/>
                </a:lnTo>
                <a:lnTo>
                  <a:pt x="590" y="2993"/>
                </a:lnTo>
                <a:lnTo>
                  <a:pt x="560" y="2967"/>
                </a:lnTo>
                <a:lnTo>
                  <a:pt x="531" y="2941"/>
                </a:lnTo>
                <a:lnTo>
                  <a:pt x="1404" y="2064"/>
                </a:lnTo>
                <a:lnTo>
                  <a:pt x="1419" y="2076"/>
                </a:lnTo>
                <a:lnTo>
                  <a:pt x="1436" y="2087"/>
                </a:lnTo>
                <a:lnTo>
                  <a:pt x="1452" y="2097"/>
                </a:lnTo>
                <a:lnTo>
                  <a:pt x="1468" y="2108"/>
                </a:lnTo>
                <a:lnTo>
                  <a:pt x="1486" y="2118"/>
                </a:lnTo>
                <a:lnTo>
                  <a:pt x="1503" y="2126"/>
                </a:lnTo>
                <a:lnTo>
                  <a:pt x="1522" y="2134"/>
                </a:lnTo>
                <a:lnTo>
                  <a:pt x="1540" y="2142"/>
                </a:lnTo>
                <a:lnTo>
                  <a:pt x="1559" y="2148"/>
                </a:lnTo>
                <a:lnTo>
                  <a:pt x="1578" y="2154"/>
                </a:lnTo>
                <a:lnTo>
                  <a:pt x="1597" y="2159"/>
                </a:lnTo>
                <a:lnTo>
                  <a:pt x="1617" y="2163"/>
                </a:lnTo>
                <a:lnTo>
                  <a:pt x="1637" y="2166"/>
                </a:lnTo>
                <a:lnTo>
                  <a:pt x="1658" y="2168"/>
                </a:lnTo>
                <a:lnTo>
                  <a:pt x="1678" y="2169"/>
                </a:lnTo>
                <a:lnTo>
                  <a:pt x="1699" y="2170"/>
                </a:lnTo>
                <a:lnTo>
                  <a:pt x="1722" y="2169"/>
                </a:lnTo>
                <a:lnTo>
                  <a:pt x="1746" y="2167"/>
                </a:lnTo>
                <a:lnTo>
                  <a:pt x="1770" y="2164"/>
                </a:lnTo>
                <a:lnTo>
                  <a:pt x="1792" y="2160"/>
                </a:lnTo>
                <a:lnTo>
                  <a:pt x="1815" y="2155"/>
                </a:lnTo>
                <a:lnTo>
                  <a:pt x="1836" y="2149"/>
                </a:lnTo>
                <a:lnTo>
                  <a:pt x="1858" y="2142"/>
                </a:lnTo>
                <a:lnTo>
                  <a:pt x="1879" y="2133"/>
                </a:lnTo>
                <a:lnTo>
                  <a:pt x="1900" y="2124"/>
                </a:lnTo>
                <a:lnTo>
                  <a:pt x="1919" y="2114"/>
                </a:lnTo>
                <a:lnTo>
                  <a:pt x="1939" y="2103"/>
                </a:lnTo>
                <a:lnTo>
                  <a:pt x="1957" y="2090"/>
                </a:lnTo>
                <a:lnTo>
                  <a:pt x="1975" y="2078"/>
                </a:lnTo>
                <a:lnTo>
                  <a:pt x="1993" y="2064"/>
                </a:lnTo>
                <a:lnTo>
                  <a:pt x="2010" y="2049"/>
                </a:lnTo>
                <a:lnTo>
                  <a:pt x="2026" y="2034"/>
                </a:lnTo>
                <a:lnTo>
                  <a:pt x="2041" y="2017"/>
                </a:lnTo>
                <a:lnTo>
                  <a:pt x="2056" y="2001"/>
                </a:lnTo>
                <a:lnTo>
                  <a:pt x="2070" y="1983"/>
                </a:lnTo>
                <a:lnTo>
                  <a:pt x="2083" y="1965"/>
                </a:lnTo>
                <a:lnTo>
                  <a:pt x="2095" y="1946"/>
                </a:lnTo>
                <a:lnTo>
                  <a:pt x="2107" y="1927"/>
                </a:lnTo>
                <a:lnTo>
                  <a:pt x="2117" y="1906"/>
                </a:lnTo>
                <a:lnTo>
                  <a:pt x="2126" y="1886"/>
                </a:lnTo>
                <a:lnTo>
                  <a:pt x="2134" y="1865"/>
                </a:lnTo>
                <a:lnTo>
                  <a:pt x="2141" y="1844"/>
                </a:lnTo>
                <a:lnTo>
                  <a:pt x="2148" y="1821"/>
                </a:lnTo>
                <a:lnTo>
                  <a:pt x="2153" y="1798"/>
                </a:lnTo>
                <a:lnTo>
                  <a:pt x="2157" y="1776"/>
                </a:lnTo>
                <a:lnTo>
                  <a:pt x="2160" y="1752"/>
                </a:lnTo>
                <a:lnTo>
                  <a:pt x="2162" y="1729"/>
                </a:lnTo>
                <a:lnTo>
                  <a:pt x="2162" y="1705"/>
                </a:lnTo>
                <a:lnTo>
                  <a:pt x="2162" y="1684"/>
                </a:lnTo>
                <a:lnTo>
                  <a:pt x="2161" y="1664"/>
                </a:lnTo>
                <a:lnTo>
                  <a:pt x="2158" y="1643"/>
                </a:lnTo>
                <a:lnTo>
                  <a:pt x="2155" y="1623"/>
                </a:lnTo>
                <a:lnTo>
                  <a:pt x="2151" y="1603"/>
                </a:lnTo>
                <a:lnTo>
                  <a:pt x="2147" y="1583"/>
                </a:lnTo>
                <a:lnTo>
                  <a:pt x="2140" y="1565"/>
                </a:lnTo>
                <a:lnTo>
                  <a:pt x="2134" y="1545"/>
                </a:lnTo>
                <a:lnTo>
                  <a:pt x="2127" y="1527"/>
                </a:lnTo>
                <a:lnTo>
                  <a:pt x="2119" y="1509"/>
                </a:lnTo>
                <a:lnTo>
                  <a:pt x="2110" y="1491"/>
                </a:lnTo>
                <a:lnTo>
                  <a:pt x="2100" y="1473"/>
                </a:lnTo>
                <a:lnTo>
                  <a:pt x="2090" y="1457"/>
                </a:lnTo>
                <a:lnTo>
                  <a:pt x="2080" y="1440"/>
                </a:lnTo>
                <a:lnTo>
                  <a:pt x="2068" y="1425"/>
                </a:lnTo>
                <a:lnTo>
                  <a:pt x="2055" y="1410"/>
                </a:lnTo>
                <a:lnTo>
                  <a:pt x="2929" y="533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83BAAF0-9A1E-0D41-8A56-370B691CD74A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380E38-565B-C74B-B289-0C03C010A6A3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5EF87BB5-BEC8-A24A-854A-D8849FB4E1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3708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1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79081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 noChangeArrowheads="1"/>
          </p:cNvSpPr>
          <p:nvPr>
            <p:ph type="pic" sz="quarter" idx="10"/>
          </p:nvPr>
        </p:nvSpPr>
        <p:spPr bwMode="auto">
          <a:xfrm>
            <a:off x="1459311" y="1726309"/>
            <a:ext cx="3404790" cy="3405382"/>
          </a:xfrm>
          <a:custGeom>
            <a:avLst/>
            <a:gdLst>
              <a:gd name="connsiteX0" fmla="*/ 2226853 w 5107185"/>
              <a:gd name="connsiteY0" fmla="*/ 4448679 h 5108860"/>
              <a:gd name="connsiteX1" fmla="*/ 2887034 w 5107185"/>
              <a:gd name="connsiteY1" fmla="*/ 4448679 h 5108860"/>
              <a:gd name="connsiteX2" fmla="*/ 2887034 w 5107185"/>
              <a:gd name="connsiteY2" fmla="*/ 5108860 h 5108860"/>
              <a:gd name="connsiteX3" fmla="*/ 2226853 w 5107185"/>
              <a:gd name="connsiteY3" fmla="*/ 5108860 h 5108860"/>
              <a:gd name="connsiteX4" fmla="*/ 11729 w 5107185"/>
              <a:gd name="connsiteY4" fmla="*/ 4448679 h 5108860"/>
              <a:gd name="connsiteX5" fmla="*/ 671910 w 5107185"/>
              <a:gd name="connsiteY5" fmla="*/ 4448679 h 5108860"/>
              <a:gd name="connsiteX6" fmla="*/ 671910 w 5107185"/>
              <a:gd name="connsiteY6" fmla="*/ 5108860 h 5108860"/>
              <a:gd name="connsiteX7" fmla="*/ 11729 w 5107185"/>
              <a:gd name="connsiteY7" fmla="*/ 5108860 h 5108860"/>
              <a:gd name="connsiteX8" fmla="*/ 4441977 w 5107185"/>
              <a:gd name="connsiteY8" fmla="*/ 4441977 h 5108860"/>
              <a:gd name="connsiteX9" fmla="*/ 5100483 w 5107185"/>
              <a:gd name="connsiteY9" fmla="*/ 4441977 h 5108860"/>
              <a:gd name="connsiteX10" fmla="*/ 5100483 w 5107185"/>
              <a:gd name="connsiteY10" fmla="*/ 5102158 h 5108860"/>
              <a:gd name="connsiteX11" fmla="*/ 4441977 w 5107185"/>
              <a:gd name="connsiteY11" fmla="*/ 5102158 h 5108860"/>
              <a:gd name="connsiteX12" fmla="*/ 3703043 w 5107185"/>
              <a:gd name="connsiteY12" fmla="*/ 4441977 h 5108860"/>
              <a:gd name="connsiteX13" fmla="*/ 4363224 w 5107185"/>
              <a:gd name="connsiteY13" fmla="*/ 4441977 h 5108860"/>
              <a:gd name="connsiteX14" fmla="*/ 4363224 w 5107185"/>
              <a:gd name="connsiteY14" fmla="*/ 5102158 h 5108860"/>
              <a:gd name="connsiteX15" fmla="*/ 3703043 w 5107185"/>
              <a:gd name="connsiteY15" fmla="*/ 5102158 h 5108860"/>
              <a:gd name="connsiteX16" fmla="*/ 2965786 w 5107185"/>
              <a:gd name="connsiteY16" fmla="*/ 4441977 h 5108860"/>
              <a:gd name="connsiteX17" fmla="*/ 3624292 w 5107185"/>
              <a:gd name="connsiteY17" fmla="*/ 4441977 h 5108860"/>
              <a:gd name="connsiteX18" fmla="*/ 3624292 w 5107185"/>
              <a:gd name="connsiteY18" fmla="*/ 5102158 h 5108860"/>
              <a:gd name="connsiteX19" fmla="*/ 2965786 w 5107185"/>
              <a:gd name="connsiteY19" fmla="*/ 5102158 h 5108860"/>
              <a:gd name="connsiteX20" fmla="*/ 1489595 w 5107185"/>
              <a:gd name="connsiteY20" fmla="*/ 4441977 h 5108860"/>
              <a:gd name="connsiteX21" fmla="*/ 2148101 w 5107185"/>
              <a:gd name="connsiteY21" fmla="*/ 4441977 h 5108860"/>
              <a:gd name="connsiteX22" fmla="*/ 2148101 w 5107185"/>
              <a:gd name="connsiteY22" fmla="*/ 5102158 h 5108860"/>
              <a:gd name="connsiteX23" fmla="*/ 1489595 w 5107185"/>
              <a:gd name="connsiteY23" fmla="*/ 5102158 h 5108860"/>
              <a:gd name="connsiteX24" fmla="*/ 750661 w 5107185"/>
              <a:gd name="connsiteY24" fmla="*/ 4441977 h 5108860"/>
              <a:gd name="connsiteX25" fmla="*/ 1409167 w 5107185"/>
              <a:gd name="connsiteY25" fmla="*/ 4441977 h 5108860"/>
              <a:gd name="connsiteX26" fmla="*/ 1409167 w 5107185"/>
              <a:gd name="connsiteY26" fmla="*/ 5102158 h 5108860"/>
              <a:gd name="connsiteX27" fmla="*/ 750661 w 5107185"/>
              <a:gd name="connsiteY27" fmla="*/ 5102158 h 5108860"/>
              <a:gd name="connsiteX28" fmla="*/ 3703043 w 5107185"/>
              <a:gd name="connsiteY28" fmla="*/ 3708071 h 5108860"/>
              <a:gd name="connsiteX29" fmla="*/ 4363224 w 5107185"/>
              <a:gd name="connsiteY29" fmla="*/ 3708071 h 5108860"/>
              <a:gd name="connsiteX30" fmla="*/ 4363224 w 5107185"/>
              <a:gd name="connsiteY30" fmla="*/ 4368252 h 5108860"/>
              <a:gd name="connsiteX31" fmla="*/ 3703043 w 5107185"/>
              <a:gd name="connsiteY31" fmla="*/ 4368252 h 5108860"/>
              <a:gd name="connsiteX32" fmla="*/ 4441977 w 5107185"/>
              <a:gd name="connsiteY32" fmla="*/ 3701368 h 5108860"/>
              <a:gd name="connsiteX33" fmla="*/ 5100483 w 5107185"/>
              <a:gd name="connsiteY33" fmla="*/ 3701368 h 5108860"/>
              <a:gd name="connsiteX34" fmla="*/ 5100483 w 5107185"/>
              <a:gd name="connsiteY34" fmla="*/ 4363225 h 5108860"/>
              <a:gd name="connsiteX35" fmla="*/ 4441977 w 5107185"/>
              <a:gd name="connsiteY35" fmla="*/ 4363225 h 5108860"/>
              <a:gd name="connsiteX36" fmla="*/ 2965786 w 5107185"/>
              <a:gd name="connsiteY36" fmla="*/ 3701368 h 5108860"/>
              <a:gd name="connsiteX37" fmla="*/ 3624292 w 5107185"/>
              <a:gd name="connsiteY37" fmla="*/ 3701368 h 5108860"/>
              <a:gd name="connsiteX38" fmla="*/ 3624292 w 5107185"/>
              <a:gd name="connsiteY38" fmla="*/ 4363225 h 5108860"/>
              <a:gd name="connsiteX39" fmla="*/ 2965786 w 5107185"/>
              <a:gd name="connsiteY39" fmla="*/ 4363225 h 5108860"/>
              <a:gd name="connsiteX40" fmla="*/ 2226853 w 5107185"/>
              <a:gd name="connsiteY40" fmla="*/ 3701368 h 5108860"/>
              <a:gd name="connsiteX41" fmla="*/ 2887034 w 5107185"/>
              <a:gd name="connsiteY41" fmla="*/ 3701368 h 5108860"/>
              <a:gd name="connsiteX42" fmla="*/ 2887034 w 5107185"/>
              <a:gd name="connsiteY42" fmla="*/ 4363225 h 5108860"/>
              <a:gd name="connsiteX43" fmla="*/ 2226853 w 5107185"/>
              <a:gd name="connsiteY43" fmla="*/ 4363225 h 5108860"/>
              <a:gd name="connsiteX44" fmla="*/ 1489595 w 5107185"/>
              <a:gd name="connsiteY44" fmla="*/ 3701368 h 5108860"/>
              <a:gd name="connsiteX45" fmla="*/ 2148101 w 5107185"/>
              <a:gd name="connsiteY45" fmla="*/ 3701368 h 5108860"/>
              <a:gd name="connsiteX46" fmla="*/ 2148101 w 5107185"/>
              <a:gd name="connsiteY46" fmla="*/ 4363225 h 5108860"/>
              <a:gd name="connsiteX47" fmla="*/ 1489595 w 5107185"/>
              <a:gd name="connsiteY47" fmla="*/ 4363225 h 5108860"/>
              <a:gd name="connsiteX48" fmla="*/ 750661 w 5107185"/>
              <a:gd name="connsiteY48" fmla="*/ 3701368 h 5108860"/>
              <a:gd name="connsiteX49" fmla="*/ 1409167 w 5107185"/>
              <a:gd name="connsiteY49" fmla="*/ 3701368 h 5108860"/>
              <a:gd name="connsiteX50" fmla="*/ 1409167 w 5107185"/>
              <a:gd name="connsiteY50" fmla="*/ 4363225 h 5108860"/>
              <a:gd name="connsiteX51" fmla="*/ 750661 w 5107185"/>
              <a:gd name="connsiteY51" fmla="*/ 4363225 h 5108860"/>
              <a:gd name="connsiteX52" fmla="*/ 11729 w 5107185"/>
              <a:gd name="connsiteY52" fmla="*/ 3701368 h 5108860"/>
              <a:gd name="connsiteX53" fmla="*/ 671910 w 5107185"/>
              <a:gd name="connsiteY53" fmla="*/ 3701368 h 5108860"/>
              <a:gd name="connsiteX54" fmla="*/ 671910 w 5107185"/>
              <a:gd name="connsiteY54" fmla="*/ 4363225 h 5108860"/>
              <a:gd name="connsiteX55" fmla="*/ 11729 w 5107185"/>
              <a:gd name="connsiteY55" fmla="*/ 4363225 h 5108860"/>
              <a:gd name="connsiteX56" fmla="*/ 1489595 w 5107185"/>
              <a:gd name="connsiteY56" fmla="*/ 2967462 h 5108860"/>
              <a:gd name="connsiteX57" fmla="*/ 2148101 w 5107185"/>
              <a:gd name="connsiteY57" fmla="*/ 2967462 h 5108860"/>
              <a:gd name="connsiteX58" fmla="*/ 2148101 w 5107185"/>
              <a:gd name="connsiteY58" fmla="*/ 3627643 h 5108860"/>
              <a:gd name="connsiteX59" fmla="*/ 1489595 w 5107185"/>
              <a:gd name="connsiteY59" fmla="*/ 3627643 h 5108860"/>
              <a:gd name="connsiteX60" fmla="*/ 11730 w 5107185"/>
              <a:gd name="connsiteY60" fmla="*/ 2967462 h 5108860"/>
              <a:gd name="connsiteX61" fmla="*/ 671910 w 5107185"/>
              <a:gd name="connsiteY61" fmla="*/ 2967462 h 5108860"/>
              <a:gd name="connsiteX62" fmla="*/ 671910 w 5107185"/>
              <a:gd name="connsiteY62" fmla="*/ 3627643 h 5108860"/>
              <a:gd name="connsiteX63" fmla="*/ 11730 w 5107185"/>
              <a:gd name="connsiteY63" fmla="*/ 3627643 h 5108860"/>
              <a:gd name="connsiteX64" fmla="*/ 4441977 w 5107185"/>
              <a:gd name="connsiteY64" fmla="*/ 2960760 h 5108860"/>
              <a:gd name="connsiteX65" fmla="*/ 5100483 w 5107185"/>
              <a:gd name="connsiteY65" fmla="*/ 2960760 h 5108860"/>
              <a:gd name="connsiteX66" fmla="*/ 5100483 w 5107185"/>
              <a:gd name="connsiteY66" fmla="*/ 3622617 h 5108860"/>
              <a:gd name="connsiteX67" fmla="*/ 4441977 w 5107185"/>
              <a:gd name="connsiteY67" fmla="*/ 3622617 h 5108860"/>
              <a:gd name="connsiteX68" fmla="*/ 3703043 w 5107185"/>
              <a:gd name="connsiteY68" fmla="*/ 2960760 h 5108860"/>
              <a:gd name="connsiteX69" fmla="*/ 4363224 w 5107185"/>
              <a:gd name="connsiteY69" fmla="*/ 2960760 h 5108860"/>
              <a:gd name="connsiteX70" fmla="*/ 4363224 w 5107185"/>
              <a:gd name="connsiteY70" fmla="*/ 3622617 h 5108860"/>
              <a:gd name="connsiteX71" fmla="*/ 3703043 w 5107185"/>
              <a:gd name="connsiteY71" fmla="*/ 3622617 h 5108860"/>
              <a:gd name="connsiteX72" fmla="*/ 2965786 w 5107185"/>
              <a:gd name="connsiteY72" fmla="*/ 2960760 h 5108860"/>
              <a:gd name="connsiteX73" fmla="*/ 3624292 w 5107185"/>
              <a:gd name="connsiteY73" fmla="*/ 2960760 h 5108860"/>
              <a:gd name="connsiteX74" fmla="*/ 3624292 w 5107185"/>
              <a:gd name="connsiteY74" fmla="*/ 3622617 h 5108860"/>
              <a:gd name="connsiteX75" fmla="*/ 2965786 w 5107185"/>
              <a:gd name="connsiteY75" fmla="*/ 3622617 h 5108860"/>
              <a:gd name="connsiteX76" fmla="*/ 2226853 w 5107185"/>
              <a:gd name="connsiteY76" fmla="*/ 2960760 h 5108860"/>
              <a:gd name="connsiteX77" fmla="*/ 2887034 w 5107185"/>
              <a:gd name="connsiteY77" fmla="*/ 2960760 h 5108860"/>
              <a:gd name="connsiteX78" fmla="*/ 2887034 w 5107185"/>
              <a:gd name="connsiteY78" fmla="*/ 3622617 h 5108860"/>
              <a:gd name="connsiteX79" fmla="*/ 2226853 w 5107185"/>
              <a:gd name="connsiteY79" fmla="*/ 3622617 h 5108860"/>
              <a:gd name="connsiteX80" fmla="*/ 750661 w 5107185"/>
              <a:gd name="connsiteY80" fmla="*/ 2960760 h 5108860"/>
              <a:gd name="connsiteX81" fmla="*/ 1409167 w 5107185"/>
              <a:gd name="connsiteY81" fmla="*/ 2960760 h 5108860"/>
              <a:gd name="connsiteX82" fmla="*/ 1409167 w 5107185"/>
              <a:gd name="connsiteY82" fmla="*/ 3622617 h 5108860"/>
              <a:gd name="connsiteX83" fmla="*/ 750661 w 5107185"/>
              <a:gd name="connsiteY83" fmla="*/ 3622617 h 5108860"/>
              <a:gd name="connsiteX84" fmla="*/ 2965786 w 5107185"/>
              <a:gd name="connsiteY84" fmla="*/ 2226853 h 5108860"/>
              <a:gd name="connsiteX85" fmla="*/ 3624292 w 5107185"/>
              <a:gd name="connsiteY85" fmla="*/ 2226853 h 5108860"/>
              <a:gd name="connsiteX86" fmla="*/ 3624292 w 5107185"/>
              <a:gd name="connsiteY86" fmla="*/ 2888710 h 5108860"/>
              <a:gd name="connsiteX87" fmla="*/ 2965786 w 5107185"/>
              <a:gd name="connsiteY87" fmla="*/ 2888710 h 5108860"/>
              <a:gd name="connsiteX88" fmla="*/ 750661 w 5107185"/>
              <a:gd name="connsiteY88" fmla="*/ 2226853 h 5108860"/>
              <a:gd name="connsiteX89" fmla="*/ 1409167 w 5107185"/>
              <a:gd name="connsiteY89" fmla="*/ 2226853 h 5108860"/>
              <a:gd name="connsiteX90" fmla="*/ 1409167 w 5107185"/>
              <a:gd name="connsiteY90" fmla="*/ 2888710 h 5108860"/>
              <a:gd name="connsiteX91" fmla="*/ 750661 w 5107185"/>
              <a:gd name="connsiteY91" fmla="*/ 2888710 h 5108860"/>
              <a:gd name="connsiteX92" fmla="*/ 4441977 w 5107185"/>
              <a:gd name="connsiteY92" fmla="*/ 2220151 h 5108860"/>
              <a:gd name="connsiteX93" fmla="*/ 5100483 w 5107185"/>
              <a:gd name="connsiteY93" fmla="*/ 2220151 h 5108860"/>
              <a:gd name="connsiteX94" fmla="*/ 5100483 w 5107185"/>
              <a:gd name="connsiteY94" fmla="*/ 2882008 h 5108860"/>
              <a:gd name="connsiteX95" fmla="*/ 4441977 w 5107185"/>
              <a:gd name="connsiteY95" fmla="*/ 2882008 h 5108860"/>
              <a:gd name="connsiteX96" fmla="*/ 3703043 w 5107185"/>
              <a:gd name="connsiteY96" fmla="*/ 2220151 h 5108860"/>
              <a:gd name="connsiteX97" fmla="*/ 4363224 w 5107185"/>
              <a:gd name="connsiteY97" fmla="*/ 2220151 h 5108860"/>
              <a:gd name="connsiteX98" fmla="*/ 4363224 w 5107185"/>
              <a:gd name="connsiteY98" fmla="*/ 2882008 h 5108860"/>
              <a:gd name="connsiteX99" fmla="*/ 3703043 w 5107185"/>
              <a:gd name="connsiteY99" fmla="*/ 2882008 h 5108860"/>
              <a:gd name="connsiteX100" fmla="*/ 2226853 w 5107185"/>
              <a:gd name="connsiteY100" fmla="*/ 2220151 h 5108860"/>
              <a:gd name="connsiteX101" fmla="*/ 2887034 w 5107185"/>
              <a:gd name="connsiteY101" fmla="*/ 2220151 h 5108860"/>
              <a:gd name="connsiteX102" fmla="*/ 2887034 w 5107185"/>
              <a:gd name="connsiteY102" fmla="*/ 2882008 h 5108860"/>
              <a:gd name="connsiteX103" fmla="*/ 2226853 w 5107185"/>
              <a:gd name="connsiteY103" fmla="*/ 2882008 h 5108860"/>
              <a:gd name="connsiteX104" fmla="*/ 1489595 w 5107185"/>
              <a:gd name="connsiteY104" fmla="*/ 2220151 h 5108860"/>
              <a:gd name="connsiteX105" fmla="*/ 2148101 w 5107185"/>
              <a:gd name="connsiteY105" fmla="*/ 2220151 h 5108860"/>
              <a:gd name="connsiteX106" fmla="*/ 2148101 w 5107185"/>
              <a:gd name="connsiteY106" fmla="*/ 2882008 h 5108860"/>
              <a:gd name="connsiteX107" fmla="*/ 1489595 w 5107185"/>
              <a:gd name="connsiteY107" fmla="*/ 2882008 h 5108860"/>
              <a:gd name="connsiteX108" fmla="*/ 11730 w 5107185"/>
              <a:gd name="connsiteY108" fmla="*/ 2220151 h 5108860"/>
              <a:gd name="connsiteX109" fmla="*/ 671910 w 5107185"/>
              <a:gd name="connsiteY109" fmla="*/ 2220151 h 5108860"/>
              <a:gd name="connsiteX110" fmla="*/ 671910 w 5107185"/>
              <a:gd name="connsiteY110" fmla="*/ 2882008 h 5108860"/>
              <a:gd name="connsiteX111" fmla="*/ 11730 w 5107185"/>
              <a:gd name="connsiteY111" fmla="*/ 2882008 h 5108860"/>
              <a:gd name="connsiteX112" fmla="*/ 4441977 w 5107185"/>
              <a:gd name="connsiteY112" fmla="*/ 1481217 h 5108860"/>
              <a:gd name="connsiteX113" fmla="*/ 5100483 w 5107185"/>
              <a:gd name="connsiteY113" fmla="*/ 1481217 h 5108860"/>
              <a:gd name="connsiteX114" fmla="*/ 5100483 w 5107185"/>
              <a:gd name="connsiteY114" fmla="*/ 2141398 h 5108860"/>
              <a:gd name="connsiteX115" fmla="*/ 4441977 w 5107185"/>
              <a:gd name="connsiteY115" fmla="*/ 2141398 h 5108860"/>
              <a:gd name="connsiteX116" fmla="*/ 3703043 w 5107185"/>
              <a:gd name="connsiteY116" fmla="*/ 1481217 h 5108860"/>
              <a:gd name="connsiteX117" fmla="*/ 4363224 w 5107185"/>
              <a:gd name="connsiteY117" fmla="*/ 1481217 h 5108860"/>
              <a:gd name="connsiteX118" fmla="*/ 4363224 w 5107185"/>
              <a:gd name="connsiteY118" fmla="*/ 2141398 h 5108860"/>
              <a:gd name="connsiteX119" fmla="*/ 3703043 w 5107185"/>
              <a:gd name="connsiteY119" fmla="*/ 2141398 h 5108860"/>
              <a:gd name="connsiteX120" fmla="*/ 2965786 w 5107185"/>
              <a:gd name="connsiteY120" fmla="*/ 1481217 h 5108860"/>
              <a:gd name="connsiteX121" fmla="*/ 3624292 w 5107185"/>
              <a:gd name="connsiteY121" fmla="*/ 1481217 h 5108860"/>
              <a:gd name="connsiteX122" fmla="*/ 3624292 w 5107185"/>
              <a:gd name="connsiteY122" fmla="*/ 2141398 h 5108860"/>
              <a:gd name="connsiteX123" fmla="*/ 2965786 w 5107185"/>
              <a:gd name="connsiteY123" fmla="*/ 2141398 h 5108860"/>
              <a:gd name="connsiteX124" fmla="*/ 2226853 w 5107185"/>
              <a:gd name="connsiteY124" fmla="*/ 1481217 h 5108860"/>
              <a:gd name="connsiteX125" fmla="*/ 2887034 w 5107185"/>
              <a:gd name="connsiteY125" fmla="*/ 1481217 h 5108860"/>
              <a:gd name="connsiteX126" fmla="*/ 2887034 w 5107185"/>
              <a:gd name="connsiteY126" fmla="*/ 2141398 h 5108860"/>
              <a:gd name="connsiteX127" fmla="*/ 2226853 w 5107185"/>
              <a:gd name="connsiteY127" fmla="*/ 2141398 h 5108860"/>
              <a:gd name="connsiteX128" fmla="*/ 1489595 w 5107185"/>
              <a:gd name="connsiteY128" fmla="*/ 1481217 h 5108860"/>
              <a:gd name="connsiteX129" fmla="*/ 2148101 w 5107185"/>
              <a:gd name="connsiteY129" fmla="*/ 1481217 h 5108860"/>
              <a:gd name="connsiteX130" fmla="*/ 2148101 w 5107185"/>
              <a:gd name="connsiteY130" fmla="*/ 2141398 h 5108860"/>
              <a:gd name="connsiteX131" fmla="*/ 1489595 w 5107185"/>
              <a:gd name="connsiteY131" fmla="*/ 2141398 h 5108860"/>
              <a:gd name="connsiteX132" fmla="*/ 750661 w 5107185"/>
              <a:gd name="connsiteY132" fmla="*/ 1481217 h 5108860"/>
              <a:gd name="connsiteX133" fmla="*/ 1409167 w 5107185"/>
              <a:gd name="connsiteY133" fmla="*/ 1481217 h 5108860"/>
              <a:gd name="connsiteX134" fmla="*/ 1409167 w 5107185"/>
              <a:gd name="connsiteY134" fmla="*/ 2141398 h 5108860"/>
              <a:gd name="connsiteX135" fmla="*/ 750661 w 5107185"/>
              <a:gd name="connsiteY135" fmla="*/ 2141398 h 5108860"/>
              <a:gd name="connsiteX136" fmla="*/ 11730 w 5107185"/>
              <a:gd name="connsiteY136" fmla="*/ 1481217 h 5108860"/>
              <a:gd name="connsiteX137" fmla="*/ 671910 w 5107185"/>
              <a:gd name="connsiteY137" fmla="*/ 1481217 h 5108860"/>
              <a:gd name="connsiteX138" fmla="*/ 671910 w 5107185"/>
              <a:gd name="connsiteY138" fmla="*/ 2141398 h 5108860"/>
              <a:gd name="connsiteX139" fmla="*/ 11730 w 5107185"/>
              <a:gd name="connsiteY139" fmla="*/ 2141398 h 5108860"/>
              <a:gd name="connsiteX140" fmla="*/ 4441977 w 5107185"/>
              <a:gd name="connsiteY140" fmla="*/ 740609 h 5108860"/>
              <a:gd name="connsiteX141" fmla="*/ 5100483 w 5107185"/>
              <a:gd name="connsiteY141" fmla="*/ 740609 h 5108860"/>
              <a:gd name="connsiteX142" fmla="*/ 5100483 w 5107185"/>
              <a:gd name="connsiteY142" fmla="*/ 1400790 h 5108860"/>
              <a:gd name="connsiteX143" fmla="*/ 4441977 w 5107185"/>
              <a:gd name="connsiteY143" fmla="*/ 1400790 h 5108860"/>
              <a:gd name="connsiteX144" fmla="*/ 3703043 w 5107185"/>
              <a:gd name="connsiteY144" fmla="*/ 740609 h 5108860"/>
              <a:gd name="connsiteX145" fmla="*/ 4363224 w 5107185"/>
              <a:gd name="connsiteY145" fmla="*/ 740609 h 5108860"/>
              <a:gd name="connsiteX146" fmla="*/ 4363224 w 5107185"/>
              <a:gd name="connsiteY146" fmla="*/ 1400790 h 5108860"/>
              <a:gd name="connsiteX147" fmla="*/ 3703043 w 5107185"/>
              <a:gd name="connsiteY147" fmla="*/ 1400790 h 5108860"/>
              <a:gd name="connsiteX148" fmla="*/ 2972488 w 5107185"/>
              <a:gd name="connsiteY148" fmla="*/ 740609 h 5108860"/>
              <a:gd name="connsiteX149" fmla="*/ 3630994 w 5107185"/>
              <a:gd name="connsiteY149" fmla="*/ 740609 h 5108860"/>
              <a:gd name="connsiteX150" fmla="*/ 3630994 w 5107185"/>
              <a:gd name="connsiteY150" fmla="*/ 1400790 h 5108860"/>
              <a:gd name="connsiteX151" fmla="*/ 2972488 w 5107185"/>
              <a:gd name="connsiteY151" fmla="*/ 1400790 h 5108860"/>
              <a:gd name="connsiteX152" fmla="*/ 2226853 w 5107185"/>
              <a:gd name="connsiteY152" fmla="*/ 740609 h 5108860"/>
              <a:gd name="connsiteX153" fmla="*/ 2887034 w 5107185"/>
              <a:gd name="connsiteY153" fmla="*/ 740609 h 5108860"/>
              <a:gd name="connsiteX154" fmla="*/ 2887034 w 5107185"/>
              <a:gd name="connsiteY154" fmla="*/ 1400790 h 5108860"/>
              <a:gd name="connsiteX155" fmla="*/ 2226853 w 5107185"/>
              <a:gd name="connsiteY155" fmla="*/ 1400790 h 5108860"/>
              <a:gd name="connsiteX156" fmla="*/ 1489595 w 5107185"/>
              <a:gd name="connsiteY156" fmla="*/ 740609 h 5108860"/>
              <a:gd name="connsiteX157" fmla="*/ 2148101 w 5107185"/>
              <a:gd name="connsiteY157" fmla="*/ 740609 h 5108860"/>
              <a:gd name="connsiteX158" fmla="*/ 2148101 w 5107185"/>
              <a:gd name="connsiteY158" fmla="*/ 1400790 h 5108860"/>
              <a:gd name="connsiteX159" fmla="*/ 1489595 w 5107185"/>
              <a:gd name="connsiteY159" fmla="*/ 1400790 h 5108860"/>
              <a:gd name="connsiteX160" fmla="*/ 750661 w 5107185"/>
              <a:gd name="connsiteY160" fmla="*/ 740609 h 5108860"/>
              <a:gd name="connsiteX161" fmla="*/ 1409167 w 5107185"/>
              <a:gd name="connsiteY161" fmla="*/ 740609 h 5108860"/>
              <a:gd name="connsiteX162" fmla="*/ 1409167 w 5107185"/>
              <a:gd name="connsiteY162" fmla="*/ 1400790 h 5108860"/>
              <a:gd name="connsiteX163" fmla="*/ 750661 w 5107185"/>
              <a:gd name="connsiteY163" fmla="*/ 1400790 h 5108860"/>
              <a:gd name="connsiteX164" fmla="*/ 11730 w 5107185"/>
              <a:gd name="connsiteY164" fmla="*/ 733906 h 5108860"/>
              <a:gd name="connsiteX165" fmla="*/ 671910 w 5107185"/>
              <a:gd name="connsiteY165" fmla="*/ 733906 h 5108860"/>
              <a:gd name="connsiteX166" fmla="*/ 671910 w 5107185"/>
              <a:gd name="connsiteY166" fmla="*/ 1395763 h 5108860"/>
              <a:gd name="connsiteX167" fmla="*/ 11730 w 5107185"/>
              <a:gd name="connsiteY167" fmla="*/ 1395763 h 5108860"/>
              <a:gd name="connsiteX168" fmla="*/ 4448679 w 5107185"/>
              <a:gd name="connsiteY168" fmla="*/ 0 h 5108860"/>
              <a:gd name="connsiteX169" fmla="*/ 5107185 w 5107185"/>
              <a:gd name="connsiteY169" fmla="*/ 0 h 5108860"/>
              <a:gd name="connsiteX170" fmla="*/ 5107185 w 5107185"/>
              <a:gd name="connsiteY170" fmla="*/ 660181 h 5108860"/>
              <a:gd name="connsiteX171" fmla="*/ 4448679 w 5107185"/>
              <a:gd name="connsiteY171" fmla="*/ 660181 h 5108860"/>
              <a:gd name="connsiteX172" fmla="*/ 3703043 w 5107185"/>
              <a:gd name="connsiteY172" fmla="*/ 0 h 5108860"/>
              <a:gd name="connsiteX173" fmla="*/ 4363224 w 5107185"/>
              <a:gd name="connsiteY173" fmla="*/ 0 h 5108860"/>
              <a:gd name="connsiteX174" fmla="*/ 4363224 w 5107185"/>
              <a:gd name="connsiteY174" fmla="*/ 660181 h 5108860"/>
              <a:gd name="connsiteX175" fmla="*/ 3703043 w 5107185"/>
              <a:gd name="connsiteY175" fmla="*/ 660181 h 5108860"/>
              <a:gd name="connsiteX176" fmla="*/ 2965786 w 5107185"/>
              <a:gd name="connsiteY176" fmla="*/ 0 h 5108860"/>
              <a:gd name="connsiteX177" fmla="*/ 3624292 w 5107185"/>
              <a:gd name="connsiteY177" fmla="*/ 0 h 5108860"/>
              <a:gd name="connsiteX178" fmla="*/ 3624292 w 5107185"/>
              <a:gd name="connsiteY178" fmla="*/ 660181 h 5108860"/>
              <a:gd name="connsiteX179" fmla="*/ 2965786 w 5107185"/>
              <a:gd name="connsiteY179" fmla="*/ 660181 h 5108860"/>
              <a:gd name="connsiteX180" fmla="*/ 2226853 w 5107185"/>
              <a:gd name="connsiteY180" fmla="*/ 0 h 5108860"/>
              <a:gd name="connsiteX181" fmla="*/ 2887034 w 5107185"/>
              <a:gd name="connsiteY181" fmla="*/ 0 h 5108860"/>
              <a:gd name="connsiteX182" fmla="*/ 2887034 w 5107185"/>
              <a:gd name="connsiteY182" fmla="*/ 660181 h 5108860"/>
              <a:gd name="connsiteX183" fmla="*/ 2226853 w 5107185"/>
              <a:gd name="connsiteY183" fmla="*/ 660181 h 5108860"/>
              <a:gd name="connsiteX184" fmla="*/ 1489595 w 5107185"/>
              <a:gd name="connsiteY184" fmla="*/ 0 h 5108860"/>
              <a:gd name="connsiteX185" fmla="*/ 2148101 w 5107185"/>
              <a:gd name="connsiteY185" fmla="*/ 0 h 5108860"/>
              <a:gd name="connsiteX186" fmla="*/ 2148101 w 5107185"/>
              <a:gd name="connsiteY186" fmla="*/ 660181 h 5108860"/>
              <a:gd name="connsiteX187" fmla="*/ 1489595 w 5107185"/>
              <a:gd name="connsiteY187" fmla="*/ 660181 h 5108860"/>
              <a:gd name="connsiteX188" fmla="*/ 743959 w 5107185"/>
              <a:gd name="connsiteY188" fmla="*/ 0 h 5108860"/>
              <a:gd name="connsiteX189" fmla="*/ 1404140 w 5107185"/>
              <a:gd name="connsiteY189" fmla="*/ 0 h 5108860"/>
              <a:gd name="connsiteX190" fmla="*/ 1404140 w 5107185"/>
              <a:gd name="connsiteY190" fmla="*/ 660181 h 5108860"/>
              <a:gd name="connsiteX191" fmla="*/ 743959 w 5107185"/>
              <a:gd name="connsiteY191" fmla="*/ 660181 h 5108860"/>
              <a:gd name="connsiteX192" fmla="*/ 0 w 5107185"/>
              <a:gd name="connsiteY192" fmla="*/ 0 h 5108860"/>
              <a:gd name="connsiteX193" fmla="*/ 658505 w 5107185"/>
              <a:gd name="connsiteY193" fmla="*/ 0 h 5108860"/>
              <a:gd name="connsiteX194" fmla="*/ 658505 w 5107185"/>
              <a:gd name="connsiteY194" fmla="*/ 660181 h 5108860"/>
              <a:gd name="connsiteX195" fmla="*/ 0 w 5107185"/>
              <a:gd name="connsiteY195" fmla="*/ 660181 h 5108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</a:cxnLst>
            <a:rect l="l" t="t" r="r" b="b"/>
            <a:pathLst>
              <a:path w="5107185" h="5108860">
                <a:moveTo>
                  <a:pt x="2226853" y="4448679"/>
                </a:moveTo>
                <a:lnTo>
                  <a:pt x="2887034" y="4448679"/>
                </a:lnTo>
                <a:lnTo>
                  <a:pt x="2887034" y="5108860"/>
                </a:lnTo>
                <a:lnTo>
                  <a:pt x="2226853" y="5108860"/>
                </a:lnTo>
                <a:close/>
                <a:moveTo>
                  <a:pt x="11729" y="4448679"/>
                </a:moveTo>
                <a:lnTo>
                  <a:pt x="671910" y="4448679"/>
                </a:lnTo>
                <a:lnTo>
                  <a:pt x="671910" y="5108860"/>
                </a:lnTo>
                <a:lnTo>
                  <a:pt x="11729" y="5108860"/>
                </a:lnTo>
                <a:close/>
                <a:moveTo>
                  <a:pt x="4441977" y="4441977"/>
                </a:moveTo>
                <a:lnTo>
                  <a:pt x="5100483" y="4441977"/>
                </a:lnTo>
                <a:lnTo>
                  <a:pt x="5100483" y="5102158"/>
                </a:lnTo>
                <a:lnTo>
                  <a:pt x="4441977" y="5102158"/>
                </a:lnTo>
                <a:close/>
                <a:moveTo>
                  <a:pt x="3703043" y="4441977"/>
                </a:moveTo>
                <a:lnTo>
                  <a:pt x="4363224" y="4441977"/>
                </a:lnTo>
                <a:lnTo>
                  <a:pt x="4363224" y="5102158"/>
                </a:lnTo>
                <a:lnTo>
                  <a:pt x="3703043" y="5102158"/>
                </a:lnTo>
                <a:close/>
                <a:moveTo>
                  <a:pt x="2965786" y="4441977"/>
                </a:moveTo>
                <a:lnTo>
                  <a:pt x="3624292" y="4441977"/>
                </a:lnTo>
                <a:lnTo>
                  <a:pt x="3624292" y="5102158"/>
                </a:lnTo>
                <a:lnTo>
                  <a:pt x="2965786" y="5102158"/>
                </a:lnTo>
                <a:close/>
                <a:moveTo>
                  <a:pt x="1489595" y="4441977"/>
                </a:moveTo>
                <a:lnTo>
                  <a:pt x="2148101" y="4441977"/>
                </a:lnTo>
                <a:lnTo>
                  <a:pt x="2148101" y="5102158"/>
                </a:lnTo>
                <a:lnTo>
                  <a:pt x="1489595" y="5102158"/>
                </a:lnTo>
                <a:close/>
                <a:moveTo>
                  <a:pt x="750661" y="4441977"/>
                </a:moveTo>
                <a:lnTo>
                  <a:pt x="1409167" y="4441977"/>
                </a:lnTo>
                <a:lnTo>
                  <a:pt x="1409167" y="5102158"/>
                </a:lnTo>
                <a:lnTo>
                  <a:pt x="750661" y="5102158"/>
                </a:lnTo>
                <a:close/>
                <a:moveTo>
                  <a:pt x="3703043" y="3708071"/>
                </a:moveTo>
                <a:lnTo>
                  <a:pt x="4363224" y="3708071"/>
                </a:lnTo>
                <a:lnTo>
                  <a:pt x="4363224" y="4368252"/>
                </a:lnTo>
                <a:lnTo>
                  <a:pt x="3703043" y="4368252"/>
                </a:lnTo>
                <a:close/>
                <a:moveTo>
                  <a:pt x="4441977" y="3701368"/>
                </a:moveTo>
                <a:lnTo>
                  <a:pt x="5100483" y="3701368"/>
                </a:lnTo>
                <a:lnTo>
                  <a:pt x="5100483" y="4363225"/>
                </a:lnTo>
                <a:lnTo>
                  <a:pt x="4441977" y="4363225"/>
                </a:lnTo>
                <a:close/>
                <a:moveTo>
                  <a:pt x="2965786" y="3701368"/>
                </a:moveTo>
                <a:lnTo>
                  <a:pt x="3624292" y="3701368"/>
                </a:lnTo>
                <a:lnTo>
                  <a:pt x="3624292" y="4363225"/>
                </a:lnTo>
                <a:lnTo>
                  <a:pt x="2965786" y="4363225"/>
                </a:lnTo>
                <a:close/>
                <a:moveTo>
                  <a:pt x="2226853" y="3701368"/>
                </a:moveTo>
                <a:lnTo>
                  <a:pt x="2887034" y="3701368"/>
                </a:lnTo>
                <a:lnTo>
                  <a:pt x="2887034" y="4363225"/>
                </a:lnTo>
                <a:lnTo>
                  <a:pt x="2226853" y="4363225"/>
                </a:lnTo>
                <a:close/>
                <a:moveTo>
                  <a:pt x="1489595" y="3701368"/>
                </a:moveTo>
                <a:lnTo>
                  <a:pt x="2148101" y="3701368"/>
                </a:lnTo>
                <a:lnTo>
                  <a:pt x="2148101" y="4363225"/>
                </a:lnTo>
                <a:lnTo>
                  <a:pt x="1489595" y="4363225"/>
                </a:lnTo>
                <a:close/>
                <a:moveTo>
                  <a:pt x="750661" y="3701368"/>
                </a:moveTo>
                <a:lnTo>
                  <a:pt x="1409167" y="3701368"/>
                </a:lnTo>
                <a:lnTo>
                  <a:pt x="1409167" y="4363225"/>
                </a:lnTo>
                <a:lnTo>
                  <a:pt x="750661" y="4363225"/>
                </a:lnTo>
                <a:close/>
                <a:moveTo>
                  <a:pt x="11729" y="3701368"/>
                </a:moveTo>
                <a:lnTo>
                  <a:pt x="671910" y="3701368"/>
                </a:lnTo>
                <a:lnTo>
                  <a:pt x="671910" y="4363225"/>
                </a:lnTo>
                <a:lnTo>
                  <a:pt x="11729" y="4363225"/>
                </a:lnTo>
                <a:close/>
                <a:moveTo>
                  <a:pt x="1489595" y="2967462"/>
                </a:moveTo>
                <a:lnTo>
                  <a:pt x="2148101" y="2967462"/>
                </a:lnTo>
                <a:lnTo>
                  <a:pt x="2148101" y="3627643"/>
                </a:lnTo>
                <a:lnTo>
                  <a:pt x="1489595" y="3627643"/>
                </a:lnTo>
                <a:close/>
                <a:moveTo>
                  <a:pt x="11730" y="2967462"/>
                </a:moveTo>
                <a:lnTo>
                  <a:pt x="671910" y="2967462"/>
                </a:lnTo>
                <a:lnTo>
                  <a:pt x="671910" y="3627643"/>
                </a:lnTo>
                <a:lnTo>
                  <a:pt x="11730" y="3627643"/>
                </a:lnTo>
                <a:close/>
                <a:moveTo>
                  <a:pt x="4441977" y="2960760"/>
                </a:moveTo>
                <a:lnTo>
                  <a:pt x="5100483" y="2960760"/>
                </a:lnTo>
                <a:lnTo>
                  <a:pt x="5100483" y="3622617"/>
                </a:lnTo>
                <a:lnTo>
                  <a:pt x="4441977" y="3622617"/>
                </a:lnTo>
                <a:close/>
                <a:moveTo>
                  <a:pt x="3703043" y="2960760"/>
                </a:moveTo>
                <a:lnTo>
                  <a:pt x="4363224" y="2960760"/>
                </a:lnTo>
                <a:lnTo>
                  <a:pt x="4363224" y="3622617"/>
                </a:lnTo>
                <a:lnTo>
                  <a:pt x="3703043" y="3622617"/>
                </a:lnTo>
                <a:close/>
                <a:moveTo>
                  <a:pt x="2965786" y="2960760"/>
                </a:moveTo>
                <a:lnTo>
                  <a:pt x="3624292" y="2960760"/>
                </a:lnTo>
                <a:lnTo>
                  <a:pt x="3624292" y="3622617"/>
                </a:lnTo>
                <a:lnTo>
                  <a:pt x="2965786" y="3622617"/>
                </a:lnTo>
                <a:close/>
                <a:moveTo>
                  <a:pt x="2226853" y="2960760"/>
                </a:moveTo>
                <a:lnTo>
                  <a:pt x="2887034" y="2960760"/>
                </a:lnTo>
                <a:lnTo>
                  <a:pt x="2887034" y="3622617"/>
                </a:lnTo>
                <a:lnTo>
                  <a:pt x="2226853" y="3622617"/>
                </a:lnTo>
                <a:close/>
                <a:moveTo>
                  <a:pt x="750661" y="2960760"/>
                </a:moveTo>
                <a:lnTo>
                  <a:pt x="1409167" y="2960760"/>
                </a:lnTo>
                <a:lnTo>
                  <a:pt x="1409167" y="3622617"/>
                </a:lnTo>
                <a:lnTo>
                  <a:pt x="750661" y="3622617"/>
                </a:lnTo>
                <a:close/>
                <a:moveTo>
                  <a:pt x="2965786" y="2226853"/>
                </a:moveTo>
                <a:lnTo>
                  <a:pt x="3624292" y="2226853"/>
                </a:lnTo>
                <a:lnTo>
                  <a:pt x="3624292" y="2888710"/>
                </a:lnTo>
                <a:lnTo>
                  <a:pt x="2965786" y="2888710"/>
                </a:lnTo>
                <a:close/>
                <a:moveTo>
                  <a:pt x="750661" y="2226853"/>
                </a:moveTo>
                <a:lnTo>
                  <a:pt x="1409167" y="2226853"/>
                </a:lnTo>
                <a:lnTo>
                  <a:pt x="1409167" y="2888710"/>
                </a:lnTo>
                <a:lnTo>
                  <a:pt x="750661" y="2888710"/>
                </a:lnTo>
                <a:close/>
                <a:moveTo>
                  <a:pt x="4441977" y="2220151"/>
                </a:moveTo>
                <a:lnTo>
                  <a:pt x="5100483" y="2220151"/>
                </a:lnTo>
                <a:lnTo>
                  <a:pt x="5100483" y="2882008"/>
                </a:lnTo>
                <a:lnTo>
                  <a:pt x="4441977" y="2882008"/>
                </a:lnTo>
                <a:close/>
                <a:moveTo>
                  <a:pt x="3703043" y="2220151"/>
                </a:moveTo>
                <a:lnTo>
                  <a:pt x="4363224" y="2220151"/>
                </a:lnTo>
                <a:lnTo>
                  <a:pt x="4363224" y="2882008"/>
                </a:lnTo>
                <a:lnTo>
                  <a:pt x="3703043" y="2882008"/>
                </a:lnTo>
                <a:close/>
                <a:moveTo>
                  <a:pt x="2226853" y="2220151"/>
                </a:moveTo>
                <a:lnTo>
                  <a:pt x="2887034" y="2220151"/>
                </a:lnTo>
                <a:lnTo>
                  <a:pt x="2887034" y="2882008"/>
                </a:lnTo>
                <a:lnTo>
                  <a:pt x="2226853" y="2882008"/>
                </a:lnTo>
                <a:close/>
                <a:moveTo>
                  <a:pt x="1489595" y="2220151"/>
                </a:moveTo>
                <a:lnTo>
                  <a:pt x="2148101" y="2220151"/>
                </a:lnTo>
                <a:lnTo>
                  <a:pt x="2148101" y="2882008"/>
                </a:lnTo>
                <a:lnTo>
                  <a:pt x="1489595" y="2882008"/>
                </a:lnTo>
                <a:close/>
                <a:moveTo>
                  <a:pt x="11730" y="2220151"/>
                </a:moveTo>
                <a:lnTo>
                  <a:pt x="671910" y="2220151"/>
                </a:lnTo>
                <a:lnTo>
                  <a:pt x="671910" y="2882008"/>
                </a:lnTo>
                <a:lnTo>
                  <a:pt x="11730" y="2882008"/>
                </a:lnTo>
                <a:close/>
                <a:moveTo>
                  <a:pt x="4441977" y="1481217"/>
                </a:moveTo>
                <a:lnTo>
                  <a:pt x="5100483" y="1481217"/>
                </a:lnTo>
                <a:lnTo>
                  <a:pt x="5100483" y="2141398"/>
                </a:lnTo>
                <a:lnTo>
                  <a:pt x="4441977" y="2141398"/>
                </a:lnTo>
                <a:close/>
                <a:moveTo>
                  <a:pt x="3703043" y="1481217"/>
                </a:moveTo>
                <a:lnTo>
                  <a:pt x="4363224" y="1481217"/>
                </a:lnTo>
                <a:lnTo>
                  <a:pt x="4363224" y="2141398"/>
                </a:lnTo>
                <a:lnTo>
                  <a:pt x="3703043" y="2141398"/>
                </a:lnTo>
                <a:close/>
                <a:moveTo>
                  <a:pt x="2965786" y="1481217"/>
                </a:moveTo>
                <a:lnTo>
                  <a:pt x="3624292" y="1481217"/>
                </a:lnTo>
                <a:lnTo>
                  <a:pt x="3624292" y="2141398"/>
                </a:lnTo>
                <a:lnTo>
                  <a:pt x="2965786" y="2141398"/>
                </a:lnTo>
                <a:close/>
                <a:moveTo>
                  <a:pt x="2226853" y="1481217"/>
                </a:moveTo>
                <a:lnTo>
                  <a:pt x="2887034" y="1481217"/>
                </a:lnTo>
                <a:lnTo>
                  <a:pt x="2887034" y="2141398"/>
                </a:lnTo>
                <a:lnTo>
                  <a:pt x="2226853" y="2141398"/>
                </a:lnTo>
                <a:close/>
                <a:moveTo>
                  <a:pt x="1489595" y="1481217"/>
                </a:moveTo>
                <a:lnTo>
                  <a:pt x="2148101" y="1481217"/>
                </a:lnTo>
                <a:lnTo>
                  <a:pt x="2148101" y="2141398"/>
                </a:lnTo>
                <a:lnTo>
                  <a:pt x="1489595" y="2141398"/>
                </a:lnTo>
                <a:close/>
                <a:moveTo>
                  <a:pt x="750661" y="1481217"/>
                </a:moveTo>
                <a:lnTo>
                  <a:pt x="1409167" y="1481217"/>
                </a:lnTo>
                <a:lnTo>
                  <a:pt x="1409167" y="2141398"/>
                </a:lnTo>
                <a:lnTo>
                  <a:pt x="750661" y="2141398"/>
                </a:lnTo>
                <a:close/>
                <a:moveTo>
                  <a:pt x="11730" y="1481217"/>
                </a:moveTo>
                <a:lnTo>
                  <a:pt x="671910" y="1481217"/>
                </a:lnTo>
                <a:lnTo>
                  <a:pt x="671910" y="2141398"/>
                </a:lnTo>
                <a:lnTo>
                  <a:pt x="11730" y="2141398"/>
                </a:lnTo>
                <a:close/>
                <a:moveTo>
                  <a:pt x="4441977" y="740609"/>
                </a:moveTo>
                <a:lnTo>
                  <a:pt x="5100483" y="740609"/>
                </a:lnTo>
                <a:lnTo>
                  <a:pt x="5100483" y="1400790"/>
                </a:lnTo>
                <a:lnTo>
                  <a:pt x="4441977" y="1400790"/>
                </a:lnTo>
                <a:close/>
                <a:moveTo>
                  <a:pt x="3703043" y="740609"/>
                </a:moveTo>
                <a:lnTo>
                  <a:pt x="4363224" y="740609"/>
                </a:lnTo>
                <a:lnTo>
                  <a:pt x="4363224" y="1400790"/>
                </a:lnTo>
                <a:lnTo>
                  <a:pt x="3703043" y="1400790"/>
                </a:lnTo>
                <a:close/>
                <a:moveTo>
                  <a:pt x="2972488" y="740609"/>
                </a:moveTo>
                <a:lnTo>
                  <a:pt x="3630994" y="740609"/>
                </a:lnTo>
                <a:lnTo>
                  <a:pt x="3630994" y="1400790"/>
                </a:lnTo>
                <a:lnTo>
                  <a:pt x="2972488" y="1400790"/>
                </a:lnTo>
                <a:close/>
                <a:moveTo>
                  <a:pt x="2226853" y="740609"/>
                </a:moveTo>
                <a:lnTo>
                  <a:pt x="2887034" y="740609"/>
                </a:lnTo>
                <a:lnTo>
                  <a:pt x="2887034" y="1400790"/>
                </a:lnTo>
                <a:lnTo>
                  <a:pt x="2226853" y="1400790"/>
                </a:lnTo>
                <a:close/>
                <a:moveTo>
                  <a:pt x="1489595" y="740609"/>
                </a:moveTo>
                <a:lnTo>
                  <a:pt x="2148101" y="740609"/>
                </a:lnTo>
                <a:lnTo>
                  <a:pt x="2148101" y="1400790"/>
                </a:lnTo>
                <a:lnTo>
                  <a:pt x="1489595" y="1400790"/>
                </a:lnTo>
                <a:close/>
                <a:moveTo>
                  <a:pt x="750661" y="740609"/>
                </a:moveTo>
                <a:lnTo>
                  <a:pt x="1409167" y="740609"/>
                </a:lnTo>
                <a:lnTo>
                  <a:pt x="1409167" y="1400790"/>
                </a:lnTo>
                <a:lnTo>
                  <a:pt x="750661" y="1400790"/>
                </a:lnTo>
                <a:close/>
                <a:moveTo>
                  <a:pt x="11730" y="733906"/>
                </a:moveTo>
                <a:lnTo>
                  <a:pt x="671910" y="733906"/>
                </a:lnTo>
                <a:lnTo>
                  <a:pt x="671910" y="1395763"/>
                </a:lnTo>
                <a:lnTo>
                  <a:pt x="11730" y="1395763"/>
                </a:lnTo>
                <a:close/>
                <a:moveTo>
                  <a:pt x="4448679" y="0"/>
                </a:moveTo>
                <a:lnTo>
                  <a:pt x="5107185" y="0"/>
                </a:lnTo>
                <a:lnTo>
                  <a:pt x="5107185" y="660181"/>
                </a:lnTo>
                <a:lnTo>
                  <a:pt x="4448679" y="660181"/>
                </a:lnTo>
                <a:close/>
                <a:moveTo>
                  <a:pt x="3703043" y="0"/>
                </a:moveTo>
                <a:lnTo>
                  <a:pt x="4363224" y="0"/>
                </a:lnTo>
                <a:lnTo>
                  <a:pt x="4363224" y="660181"/>
                </a:lnTo>
                <a:lnTo>
                  <a:pt x="3703043" y="660181"/>
                </a:lnTo>
                <a:close/>
                <a:moveTo>
                  <a:pt x="2965786" y="0"/>
                </a:moveTo>
                <a:lnTo>
                  <a:pt x="3624292" y="0"/>
                </a:lnTo>
                <a:lnTo>
                  <a:pt x="3624292" y="660181"/>
                </a:lnTo>
                <a:lnTo>
                  <a:pt x="2965786" y="660181"/>
                </a:lnTo>
                <a:close/>
                <a:moveTo>
                  <a:pt x="2226853" y="0"/>
                </a:moveTo>
                <a:lnTo>
                  <a:pt x="2887034" y="0"/>
                </a:lnTo>
                <a:lnTo>
                  <a:pt x="2887034" y="660181"/>
                </a:lnTo>
                <a:lnTo>
                  <a:pt x="2226853" y="660181"/>
                </a:lnTo>
                <a:close/>
                <a:moveTo>
                  <a:pt x="1489595" y="0"/>
                </a:moveTo>
                <a:lnTo>
                  <a:pt x="2148101" y="0"/>
                </a:lnTo>
                <a:lnTo>
                  <a:pt x="2148101" y="660181"/>
                </a:lnTo>
                <a:lnTo>
                  <a:pt x="1489595" y="660181"/>
                </a:lnTo>
                <a:close/>
                <a:moveTo>
                  <a:pt x="743959" y="0"/>
                </a:moveTo>
                <a:lnTo>
                  <a:pt x="1404140" y="0"/>
                </a:lnTo>
                <a:lnTo>
                  <a:pt x="1404140" y="660181"/>
                </a:lnTo>
                <a:lnTo>
                  <a:pt x="743959" y="660181"/>
                </a:lnTo>
                <a:close/>
                <a:moveTo>
                  <a:pt x="0" y="0"/>
                </a:moveTo>
                <a:lnTo>
                  <a:pt x="658505" y="0"/>
                </a:lnTo>
                <a:lnTo>
                  <a:pt x="658505" y="660181"/>
                </a:lnTo>
                <a:lnTo>
                  <a:pt x="0" y="660181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0EA58F7-1E2E-9B4C-83BF-15FF6FA5482B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F9CA034-9947-D74F-8A4C-27409DFC8E63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A843F20B-4D59-2B49-B5FD-CA10886F11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942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5498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68489" y="1508900"/>
            <a:ext cx="5437664" cy="370734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B65A552-852A-FE4D-9C5A-B550C6F53C69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84C0BF7-15A0-1444-AB7A-075C7BABC83C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41D08C9-F904-A340-8390-216BCDF0CFE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4558" y="1508900"/>
            <a:ext cx="5437664" cy="370734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D11E9A8C-2EE7-9146-ABD5-6FAE170016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942" y="0"/>
            <a:ext cx="1831058" cy="17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892424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429529" cy="342900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0" y="3429000"/>
            <a:ext cx="3429529" cy="342900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429530" y="0"/>
            <a:ext cx="3429529" cy="342900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429530" y="3429000"/>
            <a:ext cx="3429529" cy="342900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859059" y="0"/>
            <a:ext cx="5332941" cy="3429000"/>
          </a:xfrm>
          <a:prstGeom prst="rect">
            <a:avLst/>
          </a:pr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/>
            </a:lvl1pPr>
          </a:lstStyle>
          <a:p>
            <a:pPr lvl="0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2D5946-B973-9449-9865-94AFD721314D}"/>
              </a:ext>
            </a:extLst>
          </p:cNvPr>
          <p:cNvSpPr txBox="1"/>
          <p:nvPr userDrawn="1"/>
        </p:nvSpPr>
        <p:spPr>
          <a:xfrm>
            <a:off x="11239443" y="6131317"/>
            <a:ext cx="44026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93ABEDF-2FD4-CE41-BE6E-C03412F0A819}" type="slidenum">
              <a:rPr lang="en-US" sz="1067" b="0" smtClean="0">
                <a:latin typeface="Bebas" pitchFamily="2" charset="0"/>
                <a:ea typeface="Open Sans" panose="020B0606030504020204" pitchFamily="34" charset="0"/>
                <a:cs typeface="Open Sans" panose="020B0606030504020204" pitchFamily="34" charset="0"/>
              </a:rPr>
              <a:pPr algn="r"/>
              <a:t>‹#›</a:t>
            </a:fld>
            <a:endParaRPr lang="en-US" sz="1067" b="0">
              <a:latin typeface="Bebas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23D0F85-37D5-C34E-BB0E-F454DA048E1E}"/>
              </a:ext>
            </a:extLst>
          </p:cNvPr>
          <p:cNvCxnSpPr>
            <a:cxnSpLocks/>
          </p:cNvCxnSpPr>
          <p:nvPr userDrawn="1"/>
        </p:nvCxnSpPr>
        <p:spPr>
          <a:xfrm flipV="1">
            <a:off x="11712222" y="6233894"/>
            <a:ext cx="479778" cy="10258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11333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B3613B2-F4D8-4CEC-B8DF-E282E8667AF8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911428" y="980730"/>
            <a:ext cx="9985110" cy="5472610"/>
          </a:xfrm>
        </p:spPr>
        <p:txBody>
          <a:bodyPr/>
          <a:lstStyle>
            <a:lvl1pPr marL="273031" indent="-273031" defTabSz="914336">
              <a:lnSpc>
                <a:spcPct val="100000"/>
              </a:lnSpc>
              <a:spcBef>
                <a:spcPts val="700"/>
              </a:spcBef>
              <a:buNone/>
              <a:defRPr lang="en-GB"/>
            </a:lvl1pPr>
          </a:lstStyle>
          <a:p>
            <a:pPr lvl="0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416B1F9-6565-42F8-883F-6BA7239C27D9}"/>
              </a:ext>
            </a:extLst>
          </p:cNvPr>
          <p:cNvSpPr txBox="1"/>
          <p:nvPr/>
        </p:nvSpPr>
        <p:spPr>
          <a:xfrm>
            <a:off x="1439330" y="419097"/>
            <a:ext cx="184709" cy="36927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26" tIns="45713" rIns="91426" bIns="45713" anchor="t" anchorCtr="0" compatLnSpc="1">
            <a:spAutoFit/>
          </a:bodyPr>
          <a:lstStyle/>
          <a:p>
            <a:pPr marL="0" marR="0" lvl="0" indent="0" algn="l" defTabSz="914309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800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82968319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7442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1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720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3492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1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0263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theme" Target="../theme/theme2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41" Type="http://schemas.openxmlformats.org/officeDocument/2006/relationships/slideLayout" Target="../slideLayouts/slideLayout53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6/1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95FE74A-8C59-EA5E-188C-FF463DF763AA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3813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CH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918273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SIPCMContentMarking" descr="{&quot;HashCode&quot;:-1059257448,&quot;Placement&quot;:&quot;Footer&quot;,&quot;Top&quot;:789.467957,&quot;Left&quot;:0.0,&quot;SlideWidth&quot;:1440,&quot;SlideHeight&quot;:810}">
            <a:extLst>
              <a:ext uri="{FF2B5EF4-FFF2-40B4-BE49-F238E27FC236}">
                <a16:creationId xmlns:a16="http://schemas.microsoft.com/office/drawing/2014/main" id="{4058A3BC-ADFC-44B5-ADB8-BF4D1E2B986B}"/>
              </a:ext>
            </a:extLst>
          </p:cNvPr>
          <p:cNvSpPr txBox="1"/>
          <p:nvPr userDrawn="1"/>
        </p:nvSpPr>
        <p:spPr>
          <a:xfrm>
            <a:off x="0" y="6719236"/>
            <a:ext cx="627775" cy="10265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en-US" sz="667">
                <a:solidFill>
                  <a:srgbClr val="000000"/>
                </a:solidFill>
                <a:latin typeface="Calibri" panose="020F0502020204030204" pitchFamily="34" charset="0"/>
              </a:rPr>
              <a:t>IFRC Internal</a:t>
            </a:r>
          </a:p>
        </p:txBody>
      </p:sp>
    </p:spTree>
    <p:extLst>
      <p:ext uri="{BB962C8B-B14F-4D97-AF65-F5344CB8AC3E}">
        <p14:creationId xmlns:p14="http://schemas.microsoft.com/office/powerpoint/2010/main" val="3959038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700" r:id="rId27"/>
    <p:sldLayoutId id="2147483701" r:id="rId28"/>
    <p:sldLayoutId id="2147483702" r:id="rId29"/>
    <p:sldLayoutId id="2147483703" r:id="rId30"/>
    <p:sldLayoutId id="2147483704" r:id="rId31"/>
    <p:sldLayoutId id="2147483705" r:id="rId32"/>
    <p:sldLayoutId id="2147483706" r:id="rId33"/>
    <p:sldLayoutId id="2147483707" r:id="rId34"/>
    <p:sldLayoutId id="2147483708" r:id="rId35"/>
    <p:sldLayoutId id="2147483709" r:id="rId36"/>
    <p:sldLayoutId id="2147483710" r:id="rId37"/>
    <p:sldLayoutId id="2147483711" r:id="rId38"/>
    <p:sldLayoutId id="2147483712" r:id="rId39"/>
    <p:sldLayoutId id="2147483713" r:id="rId40"/>
    <p:sldLayoutId id="2147483714" r:id="rId41"/>
  </p:sldLayoutIdLst>
  <p:hf sldNum="0" hdr="0" ftr="0"/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83C57A3-5346-4A98-A72D-8670C1D616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99" y="1058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1" imgH="631" progId="TCLayout.ActiveDocument.1">
                  <p:embed/>
                </p:oleObj>
              </mc:Choice>
              <mc:Fallback>
                <p:oleObj name="think-cell Slide" r:id="rId4" imgW="631" imgH="6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83C57A3-5346-4A98-A72D-8670C1D61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9" y="1058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6C244F6-080A-471B-BE1F-A8BED85EB617}"/>
              </a:ext>
            </a:extLst>
          </p:cNvPr>
          <p:cNvSpPr txBox="1"/>
          <p:nvPr/>
        </p:nvSpPr>
        <p:spPr>
          <a:xfrm>
            <a:off x="9698789" y="6218054"/>
            <a:ext cx="2262403" cy="266699"/>
          </a:xfrm>
          <a:prstGeom prst="rect">
            <a:avLst/>
          </a:prstGeom>
          <a:noFill/>
        </p:spPr>
        <p:txBody>
          <a:bodyPr wrap="square" lIns="60951" tIns="30475" rIns="60951" bIns="30475" rtlCol="0" anchor="t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836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6732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5097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33463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91828" algn="l" defTabSz="916732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50194" algn="l" defTabSz="916732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8559" algn="l" defTabSz="916732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66925" algn="l" defTabSz="916732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CH" sz="1300" b="1" dirty="0">
                <a:solidFill>
                  <a:srgbClr val="3F3F3F"/>
                </a:solidFill>
                <a:latin typeface="Montserrat"/>
                <a:ea typeface="Open Sans"/>
                <a:cs typeface="Open Sans"/>
              </a:rPr>
              <a:t>4 de Junio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 </a:t>
            </a:r>
            <a:r>
              <a:rPr kumimoji="0" lang="en-CH" sz="13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Montserrat"/>
                <a:ea typeface="Open Sans"/>
                <a:cs typeface="Open Sans"/>
              </a:rPr>
              <a:t>2025 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731BA69-B539-5E84-0E37-290F426D08D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110" r="10837"/>
          <a:stretch/>
        </p:blipFill>
        <p:spPr>
          <a:xfrm>
            <a:off x="6252201" y="131653"/>
            <a:ext cx="2980520" cy="177300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A136378-EADA-8BCE-60C5-F50531A9483D}"/>
              </a:ext>
            </a:extLst>
          </p:cNvPr>
          <p:cNvSpPr/>
          <p:nvPr/>
        </p:nvSpPr>
        <p:spPr>
          <a:xfrm>
            <a:off x="6171253" y="88281"/>
            <a:ext cx="3061468" cy="1859749"/>
          </a:xfrm>
          <a:prstGeom prst="rect">
            <a:avLst/>
          </a:prstGeom>
          <a:solidFill>
            <a:srgbClr val="011E4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8365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6732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5097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33463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91828" algn="l" defTabSz="916732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50194" algn="l" defTabSz="916732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8559" algn="l" defTabSz="916732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66925" algn="l" defTabSz="916732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6F4D8A8-F7DC-5AFF-5DDF-661F05523964}"/>
              </a:ext>
            </a:extLst>
          </p:cNvPr>
          <p:cNvSpPr txBox="1"/>
          <p:nvPr/>
        </p:nvSpPr>
        <p:spPr>
          <a:xfrm>
            <a:off x="128016" y="5894888"/>
            <a:ext cx="46905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H" dirty="0">
                <a:solidFill>
                  <a:schemeClr val="bg2"/>
                </a:solidFill>
              </a:rPr>
              <a:t>Alexandre Gachoud, </a:t>
            </a:r>
            <a:r>
              <a:rPr lang="en-CH" dirty="0" err="1">
                <a:solidFill>
                  <a:schemeClr val="bg2"/>
                </a:solidFill>
              </a:rPr>
              <a:t>Oficial</a:t>
            </a:r>
            <a:r>
              <a:rPr lang="en-CH" dirty="0">
                <a:solidFill>
                  <a:schemeClr val="bg2"/>
                </a:solidFill>
              </a:rPr>
              <a:t> de Protección Social</a:t>
            </a:r>
          </a:p>
          <a:p>
            <a:r>
              <a:rPr lang="en-CH" dirty="0">
                <a:solidFill>
                  <a:schemeClr val="bg2"/>
                </a:solidFill>
              </a:rPr>
              <a:t>IFRC Ginebra, alexandre.gachoud@ifrc.org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F1EEB28-F874-D72A-3211-DC9892D63929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8480" r="4957"/>
          <a:stretch/>
        </p:blipFill>
        <p:spPr>
          <a:xfrm>
            <a:off x="5394960" y="3290214"/>
            <a:ext cx="6566232" cy="283784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75D1CB7-27B6-E03B-ECDA-2FCAC5D0D9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94960" y="131653"/>
            <a:ext cx="6566232" cy="295792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654078C-502B-5512-6DA6-03E09D2B3C7D}"/>
              </a:ext>
            </a:extLst>
          </p:cNvPr>
          <p:cNvSpPr txBox="1"/>
          <p:nvPr/>
        </p:nvSpPr>
        <p:spPr>
          <a:xfrm>
            <a:off x="0" y="2544952"/>
            <a:ext cx="4818558" cy="13111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Protec</a:t>
            </a:r>
            <a:r>
              <a:rPr kumimoji="0" lang="en-CH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c</a:t>
            </a: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i</a:t>
            </a:r>
            <a:r>
              <a:rPr kumimoji="0" lang="en-CH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ó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n</a:t>
            </a:r>
            <a:r>
              <a:rPr kumimoji="0" lang="en-CH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 Social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en L</a:t>
            </a:r>
            <a:r>
              <a:rPr kumimoji="0" lang="de-DE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a</a:t>
            </a:r>
            <a:r>
              <a:rPr kumimoji="0" lang="en-CH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s Américas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Calibri Light" panose="020F0302020204030204"/>
                <a:cs typeface="Calibri Light" panose="020F0302020204030204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3192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5FC9934-0862-7C6E-C1C9-EC850CB777A7}"/>
              </a:ext>
            </a:extLst>
          </p:cNvPr>
          <p:cNvSpPr txBox="1"/>
          <p:nvPr/>
        </p:nvSpPr>
        <p:spPr>
          <a:xfrm>
            <a:off x="405003" y="1627631"/>
            <a:ext cx="9369933" cy="31222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sz="2800" b="1" dirty="0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a Protección Social: </a:t>
            </a:r>
          </a:p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en-CH" sz="2800" i="1" dirty="0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“</a:t>
            </a:r>
            <a:r>
              <a:rPr lang="en-CH" sz="2800" b="1" i="1" dirty="0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l conjunto de </a:t>
            </a:r>
            <a:r>
              <a:rPr lang="en-CH" sz="2800" b="1" i="1" dirty="0" err="1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líticas</a:t>
            </a:r>
            <a:r>
              <a:rPr lang="en-CH" sz="2800" b="1" i="1" dirty="0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y </a:t>
            </a:r>
            <a:r>
              <a:rPr lang="en-CH" sz="2800" b="1" i="1" dirty="0" err="1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rogramas</a:t>
            </a:r>
            <a:r>
              <a:rPr lang="en-CH" sz="2800" b="1" i="1" dirty="0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CH" sz="2800" b="1" i="1" dirty="0" err="1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ndentes</a:t>
            </a:r>
            <a:r>
              <a:rPr lang="en-CH" sz="2800" b="1" i="1" dirty="0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 </a:t>
            </a:r>
            <a:r>
              <a:rPr lang="en-CH" sz="2800" b="1" i="1" dirty="0" err="1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revenir</a:t>
            </a:r>
            <a:r>
              <a:rPr lang="en-CH" sz="2800" b="1" i="1" dirty="0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o </a:t>
            </a:r>
            <a:r>
              <a:rPr lang="en-CH" sz="2800" b="1" i="1" dirty="0" err="1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roteger</a:t>
            </a:r>
            <a:r>
              <a:rPr lang="en-CH" sz="2800" b="1" i="1" dirty="0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 las personas </a:t>
            </a:r>
            <a:r>
              <a:rPr lang="en-CH" sz="2800" b="1" i="1" dirty="0" err="1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rente</a:t>
            </a:r>
            <a:r>
              <a:rPr lang="en-CH" sz="2800" b="1" i="1" dirty="0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 la </a:t>
            </a:r>
            <a:r>
              <a:rPr lang="en-CH" sz="2800" b="1" i="1" dirty="0" err="1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breza</a:t>
            </a:r>
            <a:r>
              <a:rPr lang="en-CH" sz="2800" b="1" i="1" dirty="0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la </a:t>
            </a:r>
            <a:r>
              <a:rPr lang="en-CH" sz="2800" b="1" i="1" dirty="0" err="1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ulnerabilidad</a:t>
            </a:r>
            <a:r>
              <a:rPr lang="en-CH" sz="2800" b="1" i="1" dirty="0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y la </a:t>
            </a:r>
            <a:r>
              <a:rPr lang="en-CH" sz="2800" b="1" i="1" dirty="0" err="1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xclusión</a:t>
            </a:r>
            <a:r>
              <a:rPr lang="en-CH" sz="2800" b="1" i="1" dirty="0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ocial a lo largo de </a:t>
            </a:r>
            <a:r>
              <a:rPr lang="en-CH" sz="2800" b="1" i="1" dirty="0" err="1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u</a:t>
            </a:r>
            <a:r>
              <a:rPr lang="en-CH" sz="2800" b="1" i="1" dirty="0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CH" sz="2800" b="1" i="1" dirty="0" err="1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iclo</a:t>
            </a:r>
            <a:r>
              <a:rPr lang="en-CH" sz="2800" b="1" i="1" dirty="0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ital, con especial </a:t>
            </a:r>
            <a:r>
              <a:rPr lang="en-CH" sz="2800" b="1" i="1" dirty="0" err="1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tención</a:t>
            </a:r>
            <a:r>
              <a:rPr lang="en-CH" sz="2800" b="1" i="1" dirty="0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 </a:t>
            </a:r>
            <a:r>
              <a:rPr lang="en-CH" sz="2800" b="1" i="1" dirty="0" err="1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s</a:t>
            </a:r>
            <a:r>
              <a:rPr lang="en-CH" sz="2800" b="1" i="1" dirty="0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CH" sz="2800" b="1" i="1" dirty="0" err="1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rupos</a:t>
            </a:r>
            <a:r>
              <a:rPr lang="en-CH" sz="2800" b="1" i="1" dirty="0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CH" sz="2800" b="1" i="1" dirty="0" err="1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ulnerables</a:t>
            </a:r>
            <a:r>
              <a:rPr lang="en-CH" sz="2800" i="1" dirty="0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”.</a:t>
            </a:r>
            <a:endParaRPr lang="en-CH" sz="2800" i="1" dirty="0">
              <a:solidFill>
                <a:schemeClr val="bg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96FA005-AFE9-AEE9-FEF8-9AC0E18302FE}"/>
              </a:ext>
            </a:extLst>
          </p:cNvPr>
          <p:cNvSpPr txBox="1"/>
          <p:nvPr/>
        </p:nvSpPr>
        <p:spPr>
          <a:xfrm>
            <a:off x="6579870" y="5355259"/>
            <a:ext cx="50543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sz="1800" dirty="0" err="1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ganizacion</a:t>
            </a:r>
            <a:r>
              <a:rPr lang="en-CH" sz="1800" dirty="0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nternacional del </a:t>
            </a:r>
            <a:r>
              <a:rPr lang="en-CH" sz="1800" dirty="0" err="1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rabajo</a:t>
            </a:r>
            <a:r>
              <a:rPr lang="en-CH" sz="1800" dirty="0">
                <a:solidFill>
                  <a:schemeClr val="bg2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OIT)</a:t>
            </a:r>
            <a:endParaRPr lang="en-CH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D3C3F2F-6BA6-74D7-BE78-6ACB0087B93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738" r="1"/>
          <a:stretch/>
        </p:blipFill>
        <p:spPr>
          <a:xfrm>
            <a:off x="9664827" y="136761"/>
            <a:ext cx="2227865" cy="2981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0394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137926-B82A-BFBB-E660-C91CE36F2A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E972B9AE-04FC-2E68-1A00-AC75D3F4231A}"/>
              </a:ext>
            </a:extLst>
          </p:cNvPr>
          <p:cNvGrpSpPr/>
          <p:nvPr/>
        </p:nvGrpSpPr>
        <p:grpSpPr>
          <a:xfrm>
            <a:off x="239405" y="94126"/>
            <a:ext cx="11661207" cy="5701754"/>
            <a:chOff x="288189" y="2184730"/>
            <a:chExt cx="17491811" cy="7553630"/>
          </a:xfrm>
        </p:grpSpPr>
        <p:grpSp>
          <p:nvGrpSpPr>
            <p:cNvPr id="64" name="Grupo 63">
              <a:extLst>
                <a:ext uri="{FF2B5EF4-FFF2-40B4-BE49-F238E27FC236}">
                  <a16:creationId xmlns:a16="http://schemas.microsoft.com/office/drawing/2014/main" id="{459DA7C9-9F3C-EB20-F65F-2D53CB4B7F17}"/>
                </a:ext>
              </a:extLst>
            </p:cNvPr>
            <p:cNvGrpSpPr/>
            <p:nvPr/>
          </p:nvGrpSpPr>
          <p:grpSpPr>
            <a:xfrm>
              <a:off x="288189" y="2184730"/>
              <a:ext cx="17491811" cy="7553630"/>
              <a:chOff x="288189" y="2184730"/>
              <a:chExt cx="17491811" cy="7553630"/>
            </a:xfrm>
          </p:grpSpPr>
          <p:cxnSp>
            <p:nvCxnSpPr>
              <p:cNvPr id="59" name="Conector recto 58">
                <a:extLst>
                  <a:ext uri="{FF2B5EF4-FFF2-40B4-BE49-F238E27FC236}">
                    <a16:creationId xmlns:a16="http://schemas.microsoft.com/office/drawing/2014/main" id="{1D313054-AEC6-FB9F-97B5-94F8CBD4CAA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69730" y="4884063"/>
                <a:ext cx="0" cy="1346478"/>
              </a:xfrm>
              <a:prstGeom prst="line">
                <a:avLst/>
              </a:prstGeom>
              <a:ln w="38100">
                <a:solidFill>
                  <a:schemeClr val="tx2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3" name="Grupo 62">
                <a:extLst>
                  <a:ext uri="{FF2B5EF4-FFF2-40B4-BE49-F238E27FC236}">
                    <a16:creationId xmlns:a16="http://schemas.microsoft.com/office/drawing/2014/main" id="{5B3B6F9B-BD74-AB11-A514-AB7CE6BF1582}"/>
                  </a:ext>
                </a:extLst>
              </p:cNvPr>
              <p:cNvGrpSpPr/>
              <p:nvPr/>
            </p:nvGrpSpPr>
            <p:grpSpPr>
              <a:xfrm>
                <a:off x="288189" y="2184730"/>
                <a:ext cx="17491811" cy="7553630"/>
                <a:chOff x="288189" y="2184730"/>
                <a:chExt cx="17491811" cy="7553630"/>
              </a:xfrm>
            </p:grpSpPr>
            <p:grpSp>
              <p:nvGrpSpPr>
                <p:cNvPr id="62" name="Grupo 61">
                  <a:extLst>
                    <a:ext uri="{FF2B5EF4-FFF2-40B4-BE49-F238E27FC236}">
                      <a16:creationId xmlns:a16="http://schemas.microsoft.com/office/drawing/2014/main" id="{DA361A22-F468-D9B6-F548-AFEC574DB798}"/>
                    </a:ext>
                  </a:extLst>
                </p:cNvPr>
                <p:cNvGrpSpPr/>
                <p:nvPr/>
              </p:nvGrpSpPr>
              <p:grpSpPr>
                <a:xfrm>
                  <a:off x="288189" y="2184730"/>
                  <a:ext cx="17491811" cy="7553630"/>
                  <a:chOff x="288189" y="2184730"/>
                  <a:chExt cx="17491811" cy="7553630"/>
                </a:xfrm>
              </p:grpSpPr>
              <p:cxnSp>
                <p:nvCxnSpPr>
                  <p:cNvPr id="61" name="Conector recto 60">
                    <a:extLst>
                      <a:ext uri="{FF2B5EF4-FFF2-40B4-BE49-F238E27FC236}">
                        <a16:creationId xmlns:a16="http://schemas.microsoft.com/office/drawing/2014/main" id="{C860DA92-DEE5-1E37-78DD-3D08F10BC3E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6408400" y="2529840"/>
                    <a:ext cx="0" cy="2311122"/>
                  </a:xfrm>
                  <a:prstGeom prst="line">
                    <a:avLst/>
                  </a:prstGeom>
                  <a:ln w="38100">
                    <a:solidFill>
                      <a:schemeClr val="tx1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3" name="Conector recto 42">
                    <a:extLst>
                      <a:ext uri="{FF2B5EF4-FFF2-40B4-BE49-F238E27FC236}">
                        <a16:creationId xmlns:a16="http://schemas.microsoft.com/office/drawing/2014/main" id="{55148F33-D876-894E-BD45-D1C8F3714DF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3505200" y="2589468"/>
                    <a:ext cx="0" cy="2294595"/>
                  </a:xfrm>
                  <a:prstGeom prst="line">
                    <a:avLst/>
                  </a:prstGeom>
                  <a:ln w="38100">
                    <a:solidFill>
                      <a:schemeClr val="tx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4" name="Conector recto 43">
                    <a:extLst>
                      <a:ext uri="{FF2B5EF4-FFF2-40B4-BE49-F238E27FC236}">
                        <a16:creationId xmlns:a16="http://schemas.microsoft.com/office/drawing/2014/main" id="{039B2668-3C94-9D0B-FE61-D8C57BC73764}"/>
                      </a:ext>
                    </a:extLst>
                  </p:cNvPr>
                  <p:cNvCxnSpPr/>
                  <p:nvPr/>
                </p:nvCxnSpPr>
                <p:spPr>
                  <a:xfrm>
                    <a:off x="9906000" y="2529840"/>
                    <a:ext cx="0" cy="3657600"/>
                  </a:xfrm>
                  <a:prstGeom prst="line">
                    <a:avLst/>
                  </a:prstGeom>
                  <a:ln w="38100">
                    <a:solidFill>
                      <a:schemeClr val="tx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5" name="Conector recto 44">
                    <a:extLst>
                      <a:ext uri="{FF2B5EF4-FFF2-40B4-BE49-F238E27FC236}">
                        <a16:creationId xmlns:a16="http://schemas.microsoft.com/office/drawing/2014/main" id="{C257C734-005B-754B-D2E8-0819761E065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3268287" y="2529840"/>
                    <a:ext cx="0" cy="2221230"/>
                  </a:xfrm>
                  <a:prstGeom prst="line">
                    <a:avLst/>
                  </a:prstGeom>
                  <a:ln w="38100">
                    <a:solidFill>
                      <a:schemeClr val="tx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7" name="Conector recto 46">
                    <a:extLst>
                      <a:ext uri="{FF2B5EF4-FFF2-40B4-BE49-F238E27FC236}">
                        <a16:creationId xmlns:a16="http://schemas.microsoft.com/office/drawing/2014/main" id="{6700A732-FA78-14BA-BB19-4A4453C93C3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2278555" y="4751070"/>
                    <a:ext cx="3876" cy="2145030"/>
                  </a:xfrm>
                  <a:prstGeom prst="line">
                    <a:avLst/>
                  </a:prstGeom>
                  <a:ln w="38100">
                    <a:solidFill>
                      <a:schemeClr val="tx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1" name="Conector recto 50">
                    <a:extLst>
                      <a:ext uri="{FF2B5EF4-FFF2-40B4-BE49-F238E27FC236}">
                        <a16:creationId xmlns:a16="http://schemas.microsoft.com/office/drawing/2014/main" id="{0D10F4A9-E6E1-6BF7-900D-CBB925A14F0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4191114" y="4884063"/>
                    <a:ext cx="3876" cy="2145030"/>
                  </a:xfrm>
                  <a:prstGeom prst="line">
                    <a:avLst/>
                  </a:prstGeom>
                  <a:ln w="38100">
                    <a:solidFill>
                      <a:schemeClr val="tx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3" name="Conector recto 52">
                    <a:extLst>
                      <a:ext uri="{FF2B5EF4-FFF2-40B4-BE49-F238E27FC236}">
                        <a16:creationId xmlns:a16="http://schemas.microsoft.com/office/drawing/2014/main" id="{ECA958A4-58E4-676F-E1F1-935BFCB9EA6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162800" y="3609666"/>
                    <a:ext cx="0" cy="1346478"/>
                  </a:xfrm>
                  <a:prstGeom prst="line">
                    <a:avLst/>
                  </a:prstGeom>
                  <a:ln w="38100">
                    <a:solidFill>
                      <a:schemeClr val="tx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5" name="Conector recto 54">
                    <a:extLst>
                      <a:ext uri="{FF2B5EF4-FFF2-40B4-BE49-F238E27FC236}">
                        <a16:creationId xmlns:a16="http://schemas.microsoft.com/office/drawing/2014/main" id="{9CDA6AB3-607F-1813-65A6-9B5B301E430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066800" y="4884063"/>
                    <a:ext cx="0" cy="1346478"/>
                  </a:xfrm>
                  <a:prstGeom prst="line">
                    <a:avLst/>
                  </a:prstGeom>
                  <a:ln w="38100">
                    <a:solidFill>
                      <a:schemeClr val="tx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6" name="Conector recto 55">
                    <a:extLst>
                      <a:ext uri="{FF2B5EF4-FFF2-40B4-BE49-F238E27FC236}">
                        <a16:creationId xmlns:a16="http://schemas.microsoft.com/office/drawing/2014/main" id="{23AB76FC-DB35-804C-FB3D-ABD6B229649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667000" y="4840962"/>
                    <a:ext cx="0" cy="1346478"/>
                  </a:xfrm>
                  <a:prstGeom prst="line">
                    <a:avLst/>
                  </a:prstGeom>
                  <a:ln w="38100">
                    <a:solidFill>
                      <a:schemeClr val="tx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7" name="Conector recto 56">
                    <a:extLst>
                      <a:ext uri="{FF2B5EF4-FFF2-40B4-BE49-F238E27FC236}">
                        <a16:creationId xmlns:a16="http://schemas.microsoft.com/office/drawing/2014/main" id="{E122D890-E448-AA94-6795-CB41A924EA4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114800" y="4884063"/>
                    <a:ext cx="0" cy="1346478"/>
                  </a:xfrm>
                  <a:prstGeom prst="line">
                    <a:avLst/>
                  </a:prstGeom>
                  <a:ln w="38100">
                    <a:solidFill>
                      <a:schemeClr val="tx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8" name="Conector recto 57">
                    <a:extLst>
                      <a:ext uri="{FF2B5EF4-FFF2-40B4-BE49-F238E27FC236}">
                        <a16:creationId xmlns:a16="http://schemas.microsoft.com/office/drawing/2014/main" id="{FC540729-7FD1-0E23-BFC3-00699226F94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5638800" y="4884063"/>
                    <a:ext cx="0" cy="1346478"/>
                  </a:xfrm>
                  <a:prstGeom prst="line">
                    <a:avLst/>
                  </a:prstGeom>
                  <a:ln w="38100">
                    <a:solidFill>
                      <a:schemeClr val="tx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0" name="Conector recto 59">
                    <a:extLst>
                      <a:ext uri="{FF2B5EF4-FFF2-40B4-BE49-F238E27FC236}">
                        <a16:creationId xmlns:a16="http://schemas.microsoft.com/office/drawing/2014/main" id="{376D5D1F-DA07-04A0-1492-D4EE8F95281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6433800" y="5013043"/>
                    <a:ext cx="0" cy="1346478"/>
                  </a:xfrm>
                  <a:prstGeom prst="line">
                    <a:avLst/>
                  </a:prstGeom>
                  <a:ln w="38100">
                    <a:solidFill>
                      <a:schemeClr val="tx1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0" name="Rectángulo 9">
                    <a:extLst>
                      <a:ext uri="{FF2B5EF4-FFF2-40B4-BE49-F238E27FC236}">
                        <a16:creationId xmlns:a16="http://schemas.microsoft.com/office/drawing/2014/main" id="{083E47BE-078E-22CB-7C2B-A35720AC4AA1}"/>
                      </a:ext>
                    </a:extLst>
                  </p:cNvPr>
                  <p:cNvSpPr/>
                  <p:nvPr/>
                </p:nvSpPr>
                <p:spPr>
                  <a:xfrm>
                    <a:off x="11582400" y="4247515"/>
                    <a:ext cx="3508367" cy="895985"/>
                  </a:xfrm>
                  <a:prstGeom prst="rect">
                    <a:avLst/>
                  </a:prstGeom>
                  <a:solidFill>
                    <a:schemeClr val="tx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1440" tIns="45720" rIns="91440" bIns="45720" rtlCol="0" anchor="ctr"/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CH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/>
                        <a:ea typeface="+mn-ea"/>
                        <a:cs typeface="+mn-cs"/>
                      </a:rPr>
                      <a:t>7. </a:t>
                    </a:r>
                    <a:endParaRPr kumimoji="0" lang="es" sz="13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ontserra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" name="Rectángulo 6">
                    <a:extLst>
                      <a:ext uri="{FF2B5EF4-FFF2-40B4-BE49-F238E27FC236}">
                        <a16:creationId xmlns:a16="http://schemas.microsoft.com/office/drawing/2014/main" id="{743CCEA9-C924-DE36-14A9-B4045633FB0B}"/>
                      </a:ext>
                    </a:extLst>
                  </p:cNvPr>
                  <p:cNvSpPr/>
                  <p:nvPr/>
                </p:nvSpPr>
                <p:spPr>
                  <a:xfrm>
                    <a:off x="296460" y="4263390"/>
                    <a:ext cx="6234011" cy="880110"/>
                  </a:xfrm>
                  <a:prstGeom prst="rect">
                    <a:avLst/>
                  </a:prstGeom>
                  <a:solidFill>
                    <a:schemeClr val="tx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CH" sz="1333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rPr>
                      <a:t>4. </a:t>
                    </a:r>
                    <a:endParaRPr kumimoji="0" lang="es" sz="1333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ontserrat" panose="00000500000000000000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2" name="Rectángulo 21">
                    <a:extLst>
                      <a:ext uri="{FF2B5EF4-FFF2-40B4-BE49-F238E27FC236}">
                        <a16:creationId xmlns:a16="http://schemas.microsoft.com/office/drawing/2014/main" id="{4D61AA5B-E111-9A28-0B21-2A91C308C328}"/>
                      </a:ext>
                    </a:extLst>
                  </p:cNvPr>
                  <p:cNvSpPr/>
                  <p:nvPr/>
                </p:nvSpPr>
                <p:spPr>
                  <a:xfrm>
                    <a:off x="11607421" y="5448300"/>
                    <a:ext cx="3508366" cy="429006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80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" name="Rectángulo 10">
                    <a:extLst>
                      <a:ext uri="{FF2B5EF4-FFF2-40B4-BE49-F238E27FC236}">
                        <a16:creationId xmlns:a16="http://schemas.microsoft.com/office/drawing/2014/main" id="{023B3B9D-8055-F73B-5CEA-57E66729A31D}"/>
                      </a:ext>
                    </a:extLst>
                  </p:cNvPr>
                  <p:cNvSpPr/>
                  <p:nvPr/>
                </p:nvSpPr>
                <p:spPr>
                  <a:xfrm>
                    <a:off x="296460" y="5448300"/>
                    <a:ext cx="6205064" cy="429006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800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" name="Rectángulo 19">
                    <a:extLst>
                      <a:ext uri="{FF2B5EF4-FFF2-40B4-BE49-F238E27FC236}">
                        <a16:creationId xmlns:a16="http://schemas.microsoft.com/office/drawing/2014/main" id="{A59D55B4-0D8F-7ACF-4B19-9678897F5A37}"/>
                      </a:ext>
                    </a:extLst>
                  </p:cNvPr>
                  <p:cNvSpPr/>
                  <p:nvPr/>
                </p:nvSpPr>
                <p:spPr>
                  <a:xfrm>
                    <a:off x="6659118" y="5448300"/>
                    <a:ext cx="1790744" cy="429006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800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" name="Rectángulo 20">
                    <a:extLst>
                      <a:ext uri="{FF2B5EF4-FFF2-40B4-BE49-F238E27FC236}">
                        <a16:creationId xmlns:a16="http://schemas.microsoft.com/office/drawing/2014/main" id="{7C551DA5-300D-BBFC-48D0-FEDC835F8CB4}"/>
                      </a:ext>
                    </a:extLst>
                  </p:cNvPr>
                  <p:cNvSpPr/>
                  <p:nvPr/>
                </p:nvSpPr>
                <p:spPr>
                  <a:xfrm>
                    <a:off x="8572466" y="5448300"/>
                    <a:ext cx="2895600" cy="429006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800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" name="Rectángulo 22">
                    <a:extLst>
                      <a:ext uri="{FF2B5EF4-FFF2-40B4-BE49-F238E27FC236}">
                        <a16:creationId xmlns:a16="http://schemas.microsoft.com/office/drawing/2014/main" id="{F05B448C-E3C8-63FB-C3E9-FC029A4FC444}"/>
                      </a:ext>
                    </a:extLst>
                  </p:cNvPr>
                  <p:cNvSpPr/>
                  <p:nvPr/>
                </p:nvSpPr>
                <p:spPr>
                  <a:xfrm>
                    <a:off x="296461" y="2184730"/>
                    <a:ext cx="17483539" cy="784800"/>
                  </a:xfrm>
                  <a:prstGeom prst="rect">
                    <a:avLst/>
                  </a:prstGeom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1440" tIns="45720" rIns="91440" bIns="45720" rtlCol="0" anchor="ctr"/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CH" sz="265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/>
                        <a:ea typeface="+mn-ea"/>
                        <a:cs typeface="+mn-cs"/>
                      </a:rPr>
                      <a:t>1. </a:t>
                    </a:r>
                    <a:endParaRPr kumimoji="0" lang="es" sz="26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ontserra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" name="Rectángulo 23">
                    <a:extLst>
                      <a:ext uri="{FF2B5EF4-FFF2-40B4-BE49-F238E27FC236}">
                        <a16:creationId xmlns:a16="http://schemas.microsoft.com/office/drawing/2014/main" id="{08DB2767-796B-B0CC-EB4B-50369BC64E3A}"/>
                      </a:ext>
                    </a:extLst>
                  </p:cNvPr>
                  <p:cNvSpPr/>
                  <p:nvPr/>
                </p:nvSpPr>
                <p:spPr>
                  <a:xfrm>
                    <a:off x="288189" y="3141337"/>
                    <a:ext cx="8161673" cy="784860"/>
                  </a:xfrm>
                  <a:prstGeom prst="rect">
                    <a:avLst/>
                  </a:prstGeom>
                  <a:solidFill>
                    <a:schemeClr val="accent1">
                      <a:lumMod val="90000"/>
                      <a:lumOff val="1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1440" tIns="45720" rIns="91440" bIns="45720" rtlCol="0" anchor="ctr"/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CH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/>
                        <a:ea typeface="+mn-ea"/>
                        <a:cs typeface="+mn-cs"/>
                      </a:rPr>
                      <a:t>2. </a:t>
                    </a:r>
                    <a:endParaRPr kumimoji="0" lang="e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ontserra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" name="Rectángulo 26">
                    <a:extLst>
                      <a:ext uri="{FF2B5EF4-FFF2-40B4-BE49-F238E27FC236}">
                        <a16:creationId xmlns:a16="http://schemas.microsoft.com/office/drawing/2014/main" id="{E2800D97-4EC5-BCF9-1947-2EF0912F965F}"/>
                      </a:ext>
                    </a:extLst>
                  </p:cNvPr>
                  <p:cNvSpPr/>
                  <p:nvPr/>
                </p:nvSpPr>
                <p:spPr>
                  <a:xfrm>
                    <a:off x="6653142" y="4260832"/>
                    <a:ext cx="1804991" cy="895985"/>
                  </a:xfrm>
                  <a:prstGeom prst="rect">
                    <a:avLst/>
                  </a:prstGeom>
                  <a:solidFill>
                    <a:schemeClr val="tx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CH" sz="1333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rPr>
                      <a:t>5. </a:t>
                    </a:r>
                    <a:endParaRPr kumimoji="0" lang="es" sz="1333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ontserrat" panose="00000500000000000000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" name="Rectángulo 27">
                    <a:extLst>
                      <a:ext uri="{FF2B5EF4-FFF2-40B4-BE49-F238E27FC236}">
                        <a16:creationId xmlns:a16="http://schemas.microsoft.com/office/drawing/2014/main" id="{EB2E7B4A-A459-4B2B-FFA0-A245D0524958}"/>
                      </a:ext>
                    </a:extLst>
                  </p:cNvPr>
                  <p:cNvSpPr/>
                  <p:nvPr/>
                </p:nvSpPr>
                <p:spPr>
                  <a:xfrm>
                    <a:off x="8572466" y="4247515"/>
                    <a:ext cx="2895600" cy="895985"/>
                  </a:xfrm>
                  <a:prstGeom prst="rect">
                    <a:avLst/>
                  </a:prstGeom>
                  <a:solidFill>
                    <a:schemeClr val="tx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CH" sz="1333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rPr>
                      <a:t>6. </a:t>
                    </a:r>
                    <a:endParaRPr kumimoji="0" lang="es" sz="1333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ontserrat" panose="00000500000000000000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" name="Rectángulo 33">
                    <a:extLst>
                      <a:ext uri="{FF2B5EF4-FFF2-40B4-BE49-F238E27FC236}">
                        <a16:creationId xmlns:a16="http://schemas.microsoft.com/office/drawing/2014/main" id="{6618AA06-251B-4A8D-F74E-3035D499AE3C}"/>
                      </a:ext>
                    </a:extLst>
                  </p:cNvPr>
                  <p:cNvSpPr/>
                  <p:nvPr/>
                </p:nvSpPr>
                <p:spPr>
                  <a:xfrm>
                    <a:off x="15240000" y="3576868"/>
                    <a:ext cx="2530473" cy="1566632"/>
                  </a:xfrm>
                  <a:prstGeom prst="rect">
                    <a:avLst/>
                  </a:prstGeom>
                  <a:solidFill>
                    <a:schemeClr val="tx2">
                      <a:lumMod val="75000"/>
                    </a:schemeClr>
                  </a:solidFill>
                  <a:ln w="28575">
                    <a:solidFill>
                      <a:schemeClr val="tx1"/>
                    </a:solidFill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CH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/>
                        <a:ea typeface="+mn-ea"/>
                        <a:cs typeface="+mn-cs"/>
                      </a:rPr>
                      <a:t>8. </a:t>
                    </a:r>
                    <a:endParaRPr kumimoji="0" lang="es" sz="13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ontserra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" name="Rectángulo 34">
                    <a:extLst>
                      <a:ext uri="{FF2B5EF4-FFF2-40B4-BE49-F238E27FC236}">
                        <a16:creationId xmlns:a16="http://schemas.microsoft.com/office/drawing/2014/main" id="{84B65746-4D65-4659-6AC0-6B03D58DA0AD}"/>
                      </a:ext>
                    </a:extLst>
                  </p:cNvPr>
                  <p:cNvSpPr/>
                  <p:nvPr/>
                </p:nvSpPr>
                <p:spPr>
                  <a:xfrm>
                    <a:off x="15240000" y="5448300"/>
                    <a:ext cx="2540000" cy="429006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800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25" name="Rectángulo 24">
                  <a:extLst>
                    <a:ext uri="{FF2B5EF4-FFF2-40B4-BE49-F238E27FC236}">
                      <a16:creationId xmlns:a16="http://schemas.microsoft.com/office/drawing/2014/main" id="{B8A05245-4FF1-5B27-6798-3D617A1DA17C}"/>
                    </a:ext>
                  </a:extLst>
                </p:cNvPr>
                <p:cNvSpPr/>
                <p:nvPr/>
              </p:nvSpPr>
              <p:spPr>
                <a:xfrm>
                  <a:off x="8572466" y="3141336"/>
                  <a:ext cx="2895600" cy="784860"/>
                </a:xfrm>
                <a:prstGeom prst="rect">
                  <a:avLst/>
                </a:prstGeom>
                <a:solidFill>
                  <a:schemeClr val="accent1">
                    <a:lumMod val="90000"/>
                    <a:lumOff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>
                  <a:defPPr>
                    <a:defRPr lang="en-US"/>
                  </a:defPPr>
                  <a:lvl1pPr marL="0" algn="l" defTabSz="609539" rtl="0" eaLnBrk="1" latinLnBrk="0" hangingPunct="1"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04770" algn="l" defTabSz="609539" rtl="0" eaLnBrk="1" latinLnBrk="0" hangingPunct="1"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09539" algn="l" defTabSz="609539" rtl="0" eaLnBrk="1" latinLnBrk="0" hangingPunct="1"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914309" algn="l" defTabSz="609539" rtl="0" eaLnBrk="1" latinLnBrk="0" hangingPunct="1"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219078" algn="l" defTabSz="609539" rtl="0" eaLnBrk="1" latinLnBrk="0" hangingPunct="1"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523848" algn="l" defTabSz="609539" rtl="0" eaLnBrk="1" latinLnBrk="0" hangingPunct="1"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1828617" algn="l" defTabSz="609539" rtl="0" eaLnBrk="1" latinLnBrk="0" hangingPunct="1"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133387" algn="l" defTabSz="609539" rtl="0" eaLnBrk="1" latinLnBrk="0" hangingPunct="1"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438156" algn="l" defTabSz="609539" rtl="0" eaLnBrk="1" latinLnBrk="0" hangingPunct="1"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609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CH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ontserrat"/>
                      <a:ea typeface="+mn-ea"/>
                      <a:cs typeface="+mn-cs"/>
                    </a:rPr>
                    <a:t>3. </a:t>
                  </a:r>
                  <a:endParaRPr kumimoji="0" lang="e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1E4B5873-F9B9-3BC8-D87F-BAD5CD499D6C}"/>
                </a:ext>
              </a:extLst>
            </p:cNvPr>
            <p:cNvSpPr txBox="1"/>
            <p:nvPr/>
          </p:nvSpPr>
          <p:spPr>
            <a:xfrm>
              <a:off x="8693909" y="5594718"/>
              <a:ext cx="2652714" cy="3058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marR="0" lvl="1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s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15" name="CuadroTexto 14">
              <a:extLst>
                <a:ext uri="{FF2B5EF4-FFF2-40B4-BE49-F238E27FC236}">
                  <a16:creationId xmlns:a16="http://schemas.microsoft.com/office/drawing/2014/main" id="{1D465067-2C01-8DE0-0170-9125C80AB605}"/>
                </a:ext>
              </a:extLst>
            </p:cNvPr>
            <p:cNvSpPr txBox="1"/>
            <p:nvPr/>
          </p:nvSpPr>
          <p:spPr>
            <a:xfrm>
              <a:off x="402309" y="5546570"/>
              <a:ext cx="1979828" cy="177366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CH" sz="9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9. </a:t>
              </a: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lang="en-CH" sz="900" dirty="0">
                <a:solidFill>
                  <a:schemeClr val="bg1"/>
                </a:solidFill>
                <a:latin typeface="Montserrat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H" sz="900" dirty="0">
                  <a:solidFill>
                    <a:schemeClr val="bg1"/>
                  </a:solidFill>
                  <a:latin typeface="Montserrat"/>
                </a:rPr>
                <a:t>- 10.</a:t>
              </a: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lang="en-CH" sz="900" dirty="0">
                <a:solidFill>
                  <a:schemeClr val="bg1"/>
                </a:solidFill>
                <a:latin typeface="Montserrat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lang="en-CH" sz="900" dirty="0">
                <a:solidFill>
                  <a:schemeClr val="bg1"/>
                </a:solidFill>
                <a:latin typeface="Montserrat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H" sz="900" dirty="0">
                  <a:solidFill>
                    <a:schemeClr val="bg1"/>
                  </a:solidFill>
                  <a:latin typeface="Montserrat"/>
                </a:rPr>
                <a:t>- 11. </a:t>
              </a: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lang="en-CH" sz="900" dirty="0">
                <a:solidFill>
                  <a:schemeClr val="bg1"/>
                </a:solidFill>
                <a:latin typeface="Montserrat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lang="en-CH" sz="900" dirty="0">
                <a:solidFill>
                  <a:schemeClr val="bg1"/>
                </a:solidFill>
                <a:latin typeface="Montserrat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H" sz="900" dirty="0">
                  <a:solidFill>
                    <a:schemeClr val="bg1"/>
                  </a:solidFill>
                  <a:latin typeface="Montserrat"/>
                </a:rPr>
                <a:t>- 12.  </a:t>
              </a:r>
              <a:endParaRPr kumimoji="0" lang="es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E3EB128C-6EAA-3D19-15D7-B8027A6E677B}"/>
              </a:ext>
            </a:extLst>
          </p:cNvPr>
          <p:cNvSpPr txBox="1"/>
          <p:nvPr/>
        </p:nvSpPr>
        <p:spPr>
          <a:xfrm>
            <a:off x="5672579" y="6567890"/>
            <a:ext cx="1220401" cy="21544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kumimoji="0" lang="en-CH" sz="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No contributiva</a:t>
            </a:r>
            <a:endParaRPr kumimoji="0" lang="es" sz="8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3551E79-6980-86F5-8A15-8D21477E0010}"/>
              </a:ext>
            </a:extLst>
          </p:cNvPr>
          <p:cNvSpPr txBox="1"/>
          <p:nvPr/>
        </p:nvSpPr>
        <p:spPr>
          <a:xfrm>
            <a:off x="4691148" y="6565587"/>
            <a:ext cx="913176" cy="21544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CH" sz="800" dirty="0">
                <a:solidFill>
                  <a:schemeClr val="bg1"/>
                </a:solidFill>
                <a:latin typeface="Montserrat"/>
              </a:rPr>
              <a:t>C</a:t>
            </a:r>
            <a:r>
              <a:rPr kumimoji="0" lang="en-CH" sz="8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ontributiva</a:t>
            </a:r>
            <a:endParaRPr kumimoji="0" lang="es" sz="8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CC6494E-1FC2-59F0-B363-56DF76346F00}"/>
              </a:ext>
            </a:extLst>
          </p:cNvPr>
          <p:cNvSpPr txBox="1"/>
          <p:nvPr/>
        </p:nvSpPr>
        <p:spPr>
          <a:xfrm>
            <a:off x="3466206" y="6565587"/>
            <a:ext cx="1150554" cy="21544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sistencia socia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9D05AB2-A4BF-9C05-D847-7757F01BE83D}"/>
              </a:ext>
            </a:extLst>
          </p:cNvPr>
          <p:cNvSpPr txBox="1"/>
          <p:nvPr/>
        </p:nvSpPr>
        <p:spPr>
          <a:xfrm>
            <a:off x="8252939" y="5828330"/>
            <a:ext cx="156399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kumimoji="0" lang="en-CH" sz="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medor popular / cocina communitaria</a:t>
            </a:r>
            <a:endParaRPr kumimoji="0" lang="es" sz="8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B7F5D22-091A-AF9F-019D-95AFFE59151C}"/>
              </a:ext>
            </a:extLst>
          </p:cNvPr>
          <p:cNvSpPr txBox="1"/>
          <p:nvPr/>
        </p:nvSpPr>
        <p:spPr>
          <a:xfrm>
            <a:off x="231077" y="6254636"/>
            <a:ext cx="1085691" cy="21544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CH" sz="800" dirty="0">
                <a:solidFill>
                  <a:schemeClr val="bg1"/>
                </a:solidFill>
                <a:latin typeface="Montserrat" panose="00000500000000000000" pitchFamily="2" charset="0"/>
              </a:rPr>
              <a:t>Servicios sociales </a:t>
            </a:r>
            <a:endParaRPr kumimoji="0" lang="es" sz="8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A827F96-4CB6-895E-EE4C-2C45D1777913}"/>
              </a:ext>
            </a:extLst>
          </p:cNvPr>
          <p:cNvSpPr txBox="1"/>
          <p:nvPr/>
        </p:nvSpPr>
        <p:spPr>
          <a:xfrm>
            <a:off x="3806479" y="5828653"/>
            <a:ext cx="1220401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kumimoji="0" lang="es" sz="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Redes de seguridad comunitaria</a:t>
            </a:r>
            <a:r>
              <a:rPr lang="en-CH" sz="800" dirty="0">
                <a:solidFill>
                  <a:schemeClr val="bg1"/>
                </a:solidFill>
                <a:latin typeface="Montserrat"/>
              </a:rPr>
              <a:t>s</a:t>
            </a:r>
            <a:r>
              <a:rPr kumimoji="0" lang="es" sz="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607500F-3314-D1CC-76F4-D713B55AD9E8}"/>
              </a:ext>
            </a:extLst>
          </p:cNvPr>
          <p:cNvSpPr txBox="1"/>
          <p:nvPr/>
        </p:nvSpPr>
        <p:spPr>
          <a:xfrm>
            <a:off x="5856769" y="6261135"/>
            <a:ext cx="1150554" cy="21544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kumimoji="0" lang="es" sz="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gur</a:t>
            </a:r>
            <a:r>
              <a:rPr kumimoji="0" lang="en-CH" sz="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idad </a:t>
            </a:r>
            <a:r>
              <a:rPr lang="en-CH" sz="800" dirty="0">
                <a:solidFill>
                  <a:schemeClr val="bg1"/>
                </a:solidFill>
                <a:latin typeface="Montserrat" panose="00000500000000000000" pitchFamily="2" charset="0"/>
              </a:rPr>
              <a:t>s</a:t>
            </a:r>
            <a:r>
              <a:rPr kumimoji="0" lang="es" sz="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ocial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13B9174-2DD6-2E54-0D45-36606A39BA23}"/>
              </a:ext>
            </a:extLst>
          </p:cNvPr>
          <p:cNvSpPr txBox="1"/>
          <p:nvPr/>
        </p:nvSpPr>
        <p:spPr>
          <a:xfrm>
            <a:off x="239405" y="5820131"/>
            <a:ext cx="1022467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kumimoji="0" lang="es" sz="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olíticas del mercado labora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12D096C-8AA1-75C4-DC0D-70CBF4EF2471}"/>
              </a:ext>
            </a:extLst>
          </p:cNvPr>
          <p:cNvSpPr txBox="1"/>
          <p:nvPr/>
        </p:nvSpPr>
        <p:spPr>
          <a:xfrm>
            <a:off x="8425195" y="6261135"/>
            <a:ext cx="1490020" cy="21544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CH" sz="800" dirty="0">
                <a:solidFill>
                  <a:schemeClr val="bg1"/>
                </a:solidFill>
                <a:latin typeface="Montserrat"/>
              </a:rPr>
              <a:t>A</a:t>
            </a:r>
            <a:r>
              <a:rPr lang="de-DE" sz="800" dirty="0">
                <a:solidFill>
                  <a:schemeClr val="bg1"/>
                </a:solidFill>
                <a:latin typeface="Montserrat"/>
              </a:rPr>
              <a:t>tención domiciliaria</a:t>
            </a:r>
            <a:endParaRPr lang="es" sz="800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C28EF83-B01F-40C0-644D-818FF39F6556}"/>
              </a:ext>
            </a:extLst>
          </p:cNvPr>
          <p:cNvSpPr txBox="1"/>
          <p:nvPr/>
        </p:nvSpPr>
        <p:spPr>
          <a:xfrm>
            <a:off x="7066658" y="6257415"/>
            <a:ext cx="1316782" cy="21544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bg1"/>
                </a:solidFill>
                <a:latin typeface="Montserrat" panose="00000500000000000000" pitchFamily="2" charset="0"/>
              </a:rPr>
              <a:t>Cuidados en el hogar</a:t>
            </a:r>
            <a:endParaRPr kumimoji="0" lang="es" sz="8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2CD2BBA-1C0C-31AD-A301-66131842EB03}"/>
              </a:ext>
            </a:extLst>
          </p:cNvPr>
          <p:cNvSpPr txBox="1"/>
          <p:nvPr/>
        </p:nvSpPr>
        <p:spPr>
          <a:xfrm>
            <a:off x="2358500" y="6566031"/>
            <a:ext cx="1033318" cy="21544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z="800" dirty="0">
                <a:solidFill>
                  <a:schemeClr val="bg1"/>
                </a:solidFill>
                <a:latin typeface="Montserrat"/>
              </a:rPr>
              <a:t>Seguro sanitario</a:t>
            </a:r>
            <a:endParaRPr lang="en-US" sz="800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E791790-ED90-A168-E714-65CFDC230C49}"/>
              </a:ext>
            </a:extLst>
          </p:cNvPr>
          <p:cNvSpPr txBox="1"/>
          <p:nvPr/>
        </p:nvSpPr>
        <p:spPr>
          <a:xfrm>
            <a:off x="2532536" y="5835673"/>
            <a:ext cx="1193829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ograma de obras públicas</a:t>
            </a:r>
            <a:endParaRPr kumimoji="0" lang="en-GB" sz="8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7FE306D-3220-E1F7-93E3-9BD314D9C00D}"/>
              </a:ext>
            </a:extLst>
          </p:cNvPr>
          <p:cNvSpPr txBox="1"/>
          <p:nvPr/>
        </p:nvSpPr>
        <p:spPr>
          <a:xfrm>
            <a:off x="4306330" y="6260312"/>
            <a:ext cx="1490020" cy="21544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bg1"/>
                </a:solidFill>
                <a:latin typeface="Montserrat"/>
              </a:rPr>
              <a:t>Transferencias sociales</a:t>
            </a:r>
            <a:endParaRPr lang="es" sz="800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828961F-1084-122F-140C-710867ECE2B6}"/>
              </a:ext>
            </a:extLst>
          </p:cNvPr>
          <p:cNvSpPr txBox="1"/>
          <p:nvPr/>
        </p:nvSpPr>
        <p:spPr>
          <a:xfrm>
            <a:off x="3052082" y="6260312"/>
            <a:ext cx="1193829" cy="21544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kumimoji="0" lang="en-CH" sz="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rotección social</a:t>
            </a:r>
            <a:endParaRPr kumimoji="0" lang="es" sz="8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035E5E-C00B-43A3-A1ED-D24D4AE1A8E1}"/>
              </a:ext>
            </a:extLst>
          </p:cNvPr>
          <p:cNvSpPr txBox="1"/>
          <p:nvPr/>
        </p:nvSpPr>
        <p:spPr>
          <a:xfrm>
            <a:off x="1133557" y="6566031"/>
            <a:ext cx="1150555" cy="21544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" sz="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inero por trabajo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D04CD30-6274-CAFA-6461-44CB93BD45EA}"/>
              </a:ext>
            </a:extLst>
          </p:cNvPr>
          <p:cNvSpPr txBox="1"/>
          <p:nvPr/>
        </p:nvSpPr>
        <p:spPr>
          <a:xfrm>
            <a:off x="5111759" y="5821932"/>
            <a:ext cx="1490020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bg1"/>
                </a:solidFill>
                <a:latin typeface="Montserrat"/>
              </a:rPr>
              <a:t>Seguros para agricultura/ ganadería</a:t>
            </a:r>
            <a:endParaRPr kumimoji="0" lang="es" sz="8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D1B931B-4B70-8346-9FD8-F37209616B81}"/>
              </a:ext>
            </a:extLst>
          </p:cNvPr>
          <p:cNvSpPr txBox="1"/>
          <p:nvPr/>
        </p:nvSpPr>
        <p:spPr>
          <a:xfrm>
            <a:off x="1316768" y="5830275"/>
            <a:ext cx="1156619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" sz="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ervicios de apoyo familiar</a:t>
            </a:r>
            <a:endParaRPr kumimoji="0" lang="en-US" sz="8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CuadroTexto 16">
            <a:extLst>
              <a:ext uri="{FF2B5EF4-FFF2-40B4-BE49-F238E27FC236}">
                <a16:creationId xmlns:a16="http://schemas.microsoft.com/office/drawing/2014/main" id="{531104CC-F474-A475-D2BD-59AFCC14117C}"/>
              </a:ext>
            </a:extLst>
          </p:cNvPr>
          <p:cNvSpPr txBox="1"/>
          <p:nvPr/>
        </p:nvSpPr>
        <p:spPr>
          <a:xfrm>
            <a:off x="1367665" y="2611687"/>
            <a:ext cx="1123785" cy="66941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05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3. </a:t>
            </a:r>
            <a:endParaRPr kumimoji="0" lang="en-CH" sz="9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CH" sz="900" dirty="0">
              <a:solidFill>
                <a:schemeClr val="bg1"/>
              </a:solidFill>
              <a:latin typeface="Montserrat"/>
            </a:endParaRP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CH" sz="900" dirty="0">
                <a:solidFill>
                  <a:schemeClr val="bg1"/>
                </a:solidFill>
                <a:latin typeface="Montserrat"/>
              </a:rPr>
              <a:t>- 14. </a:t>
            </a:r>
            <a:endParaRPr kumimoji="0" lang="en-GB" sz="9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L="0" marR="0" lvl="0" indent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CuadroTexto 17">
            <a:extLst>
              <a:ext uri="{FF2B5EF4-FFF2-40B4-BE49-F238E27FC236}">
                <a16:creationId xmlns:a16="http://schemas.microsoft.com/office/drawing/2014/main" id="{96697892-DEAF-55EB-BB7E-550FC9A8D1A9}"/>
              </a:ext>
            </a:extLst>
          </p:cNvPr>
          <p:cNvSpPr txBox="1"/>
          <p:nvPr/>
        </p:nvSpPr>
        <p:spPr>
          <a:xfrm>
            <a:off x="2295622" y="2639865"/>
            <a:ext cx="1207320" cy="25391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05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15.</a:t>
            </a:r>
            <a:endParaRPr kumimoji="0" lang="es" sz="105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26" name="CuadroTexto 18">
            <a:extLst>
              <a:ext uri="{FF2B5EF4-FFF2-40B4-BE49-F238E27FC236}">
                <a16:creationId xmlns:a16="http://schemas.microsoft.com/office/drawing/2014/main" id="{34198E48-F290-2222-56CF-FC03AF15ED14}"/>
              </a:ext>
            </a:extLst>
          </p:cNvPr>
          <p:cNvSpPr txBox="1"/>
          <p:nvPr/>
        </p:nvSpPr>
        <p:spPr>
          <a:xfrm>
            <a:off x="3343222" y="2622912"/>
            <a:ext cx="1227023" cy="39504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067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16.</a:t>
            </a:r>
            <a:endParaRPr kumimoji="0" lang="es" sz="1067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s" sz="9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9" name="CuadroTexto 11">
            <a:extLst>
              <a:ext uri="{FF2B5EF4-FFF2-40B4-BE49-F238E27FC236}">
                <a16:creationId xmlns:a16="http://schemas.microsoft.com/office/drawing/2014/main" id="{91537385-D81A-0AAD-850D-CC5C8CC30047}"/>
              </a:ext>
            </a:extLst>
          </p:cNvPr>
          <p:cNvSpPr txBox="1"/>
          <p:nvPr/>
        </p:nvSpPr>
        <p:spPr>
          <a:xfrm>
            <a:off x="4549613" y="2981418"/>
            <a:ext cx="1288005" cy="79496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CH" sz="933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17.</a:t>
            </a: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CH" sz="933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CH" sz="9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CH" sz="900" dirty="0">
                <a:solidFill>
                  <a:schemeClr val="bg1"/>
                </a:solidFill>
                <a:latin typeface="Montserrat"/>
              </a:rPr>
              <a:t>18.</a:t>
            </a:r>
            <a:endParaRPr kumimoji="0" lang="es" sz="9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s" sz="9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0" name="CuadroTexto 12">
            <a:extLst>
              <a:ext uri="{FF2B5EF4-FFF2-40B4-BE49-F238E27FC236}">
                <a16:creationId xmlns:a16="http://schemas.microsoft.com/office/drawing/2014/main" id="{1E856DE8-1FCC-D206-6527-0554A50E2F71}"/>
              </a:ext>
            </a:extLst>
          </p:cNvPr>
          <p:cNvSpPr txBox="1"/>
          <p:nvPr/>
        </p:nvSpPr>
        <p:spPr>
          <a:xfrm>
            <a:off x="5863081" y="2901844"/>
            <a:ext cx="1768476" cy="121552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CH" sz="933" dirty="0">
                <a:solidFill>
                  <a:schemeClr val="bg1"/>
                </a:solidFill>
                <a:latin typeface="Montserrat" panose="00000500000000000000" pitchFamily="2" charset="0"/>
              </a:rPr>
              <a:t>19.</a:t>
            </a: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CH" sz="933" dirty="0">
              <a:solidFill>
                <a:schemeClr val="bg1"/>
              </a:solidFill>
              <a:latin typeface="Montserrat" panose="00000500000000000000" pitchFamily="2" charset="0"/>
            </a:endParaRP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CH" sz="933" dirty="0">
                <a:solidFill>
                  <a:schemeClr val="bg1"/>
                </a:solidFill>
                <a:latin typeface="Montserrat" panose="00000500000000000000" pitchFamily="2" charset="0"/>
              </a:rPr>
              <a:t> </a:t>
            </a:r>
            <a:endParaRPr kumimoji="0" lang="en-CH" sz="9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CH" sz="900" dirty="0">
                <a:solidFill>
                  <a:schemeClr val="bg1"/>
                </a:solidFill>
                <a:latin typeface="Montserrat"/>
              </a:rPr>
              <a:t>20.</a:t>
            </a: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CH" sz="900" dirty="0">
              <a:solidFill>
                <a:schemeClr val="bg1"/>
              </a:solidFill>
              <a:latin typeface="Montserrat"/>
            </a:endParaRP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CH" sz="900" dirty="0">
              <a:solidFill>
                <a:schemeClr val="bg1"/>
              </a:solidFill>
              <a:latin typeface="Montserrat"/>
            </a:endParaRP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CH" sz="900" dirty="0">
                <a:solidFill>
                  <a:schemeClr val="bg1"/>
                </a:solidFill>
                <a:latin typeface="Montserrat"/>
              </a:rPr>
              <a:t>21.  </a:t>
            </a:r>
            <a:endParaRPr kumimoji="0" lang="es" sz="9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177800" marR="0" lvl="1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s" sz="9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43398A9-B776-0DED-22AF-3E1599CCF824}"/>
              </a:ext>
            </a:extLst>
          </p:cNvPr>
          <p:cNvSpPr txBox="1"/>
          <p:nvPr/>
        </p:nvSpPr>
        <p:spPr>
          <a:xfrm>
            <a:off x="6961235" y="6567890"/>
            <a:ext cx="1371167" cy="21544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ES" sz="800" dirty="0">
                <a:solidFill>
                  <a:schemeClr val="bg1"/>
                </a:solidFill>
                <a:latin typeface="Montserrat"/>
              </a:rPr>
              <a:t>Pensiones de mayores</a:t>
            </a:r>
            <a:endParaRPr lang="en-US" sz="800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1D23D343-48A5-2308-235C-338306CD35F1}"/>
              </a:ext>
            </a:extLst>
          </p:cNvPr>
          <p:cNvSpPr txBox="1"/>
          <p:nvPr/>
        </p:nvSpPr>
        <p:spPr>
          <a:xfrm>
            <a:off x="9956970" y="6252068"/>
            <a:ext cx="1490020" cy="21544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" sz="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ambios en la legislación</a:t>
            </a:r>
            <a:endParaRPr lang="en-US" sz="800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1C26259-C3CE-D49D-E0CC-D522C9C4DE24}"/>
              </a:ext>
            </a:extLst>
          </p:cNvPr>
          <p:cNvSpPr txBox="1"/>
          <p:nvPr/>
        </p:nvSpPr>
        <p:spPr>
          <a:xfrm>
            <a:off x="6682349" y="5826619"/>
            <a:ext cx="1490020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defTabSz="609539">
              <a:defRPr/>
            </a:pPr>
            <a:r>
              <a:rPr kumimoji="0" lang="es" sz="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operativa (pesquera, agrícola,…)</a:t>
            </a:r>
            <a:endParaRPr kumimoji="0" lang="en-CH" sz="8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7" name="CuadroTexto 13">
            <a:extLst>
              <a:ext uri="{FF2B5EF4-FFF2-40B4-BE49-F238E27FC236}">
                <a16:creationId xmlns:a16="http://schemas.microsoft.com/office/drawing/2014/main" id="{B0E924BC-233F-1D9E-534C-E51D1FD27830}"/>
              </a:ext>
            </a:extLst>
          </p:cNvPr>
          <p:cNvSpPr txBox="1"/>
          <p:nvPr/>
        </p:nvSpPr>
        <p:spPr>
          <a:xfrm>
            <a:off x="7892493" y="2587970"/>
            <a:ext cx="1069761" cy="94641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" sz="105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CH" sz="9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CH" sz="900" dirty="0">
                <a:solidFill>
                  <a:schemeClr val="bg1"/>
                </a:solidFill>
                <a:latin typeface="Montserrat"/>
              </a:rPr>
              <a:t>22.</a:t>
            </a: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s" sz="9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CH" sz="9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CH" sz="900" dirty="0">
                <a:solidFill>
                  <a:schemeClr val="bg1"/>
                </a:solidFill>
                <a:latin typeface="Montserrat"/>
              </a:rPr>
              <a:t>23. </a:t>
            </a:r>
            <a:endParaRPr kumimoji="0" lang="es" sz="9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68" name="CuadroTexto 15">
            <a:extLst>
              <a:ext uri="{FF2B5EF4-FFF2-40B4-BE49-F238E27FC236}">
                <a16:creationId xmlns:a16="http://schemas.microsoft.com/office/drawing/2014/main" id="{BD837EB2-B5EE-4235-E944-0D3960385224}"/>
              </a:ext>
            </a:extLst>
          </p:cNvPr>
          <p:cNvSpPr txBox="1"/>
          <p:nvPr/>
        </p:nvSpPr>
        <p:spPr>
          <a:xfrm>
            <a:off x="8957534" y="2727886"/>
            <a:ext cx="1336138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" sz="1067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CH" sz="933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24. </a:t>
            </a:r>
            <a:endParaRPr kumimoji="0" lang="es" sz="933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F38BE6F-9028-7BD4-2DE6-DCEF2C573932}"/>
              </a:ext>
            </a:extLst>
          </p:cNvPr>
          <p:cNvSpPr txBox="1"/>
          <p:nvPr/>
        </p:nvSpPr>
        <p:spPr>
          <a:xfrm>
            <a:off x="8383440" y="6548430"/>
            <a:ext cx="1490020" cy="21544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defTabSz="609539">
              <a:defRPr/>
            </a:pPr>
            <a:r>
              <a:rPr kumimoji="0" lang="es" sz="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anco de granos/semillas</a:t>
            </a:r>
            <a:endParaRPr kumimoji="0" lang="en-US" sz="11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1448CEC-F619-D449-F8C7-3E3B12FC6462}"/>
              </a:ext>
            </a:extLst>
          </p:cNvPr>
          <p:cNvSpPr txBox="1"/>
          <p:nvPr/>
        </p:nvSpPr>
        <p:spPr>
          <a:xfrm>
            <a:off x="9945832" y="6547274"/>
            <a:ext cx="1243692" cy="21544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defTabSz="609539">
              <a:defRPr/>
            </a:pPr>
            <a:r>
              <a:rPr kumimoji="0" lang="es" sz="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Cocina comunitaria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4082FA8B-8174-7FED-C6EA-ACC63AB63124}"/>
              </a:ext>
            </a:extLst>
          </p:cNvPr>
          <p:cNvSpPr txBox="1"/>
          <p:nvPr/>
        </p:nvSpPr>
        <p:spPr>
          <a:xfrm>
            <a:off x="1377187" y="6260312"/>
            <a:ext cx="1614476" cy="21544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defTabSz="609539">
              <a:defRPr/>
            </a:pPr>
            <a:r>
              <a:rPr kumimoji="0" lang="es" sz="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Grupo de ahorro y </a:t>
            </a:r>
            <a:r>
              <a:rPr lang="en-CH" sz="800" dirty="0">
                <a:solidFill>
                  <a:schemeClr val="bg1"/>
                </a:solidFill>
                <a:latin typeface="Montserrat"/>
              </a:rPr>
              <a:t>credito</a:t>
            </a:r>
            <a:endParaRPr kumimoji="0" lang="es" sz="8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78AFDC58-DF84-CFD7-511D-A496E84083F9}"/>
              </a:ext>
            </a:extLst>
          </p:cNvPr>
          <p:cNvSpPr txBox="1"/>
          <p:nvPr/>
        </p:nvSpPr>
        <p:spPr>
          <a:xfrm>
            <a:off x="231077" y="6566032"/>
            <a:ext cx="828092" cy="21544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CH" sz="800" dirty="0">
                <a:solidFill>
                  <a:schemeClr val="bg1"/>
                </a:solidFill>
                <a:latin typeface="Montserrat"/>
              </a:rPr>
              <a:t>Club juvenil</a:t>
            </a:r>
            <a:endParaRPr kumimoji="0" lang="es" sz="8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73" name="CuadroTexto 35">
            <a:extLst>
              <a:ext uri="{FF2B5EF4-FFF2-40B4-BE49-F238E27FC236}">
                <a16:creationId xmlns:a16="http://schemas.microsoft.com/office/drawing/2014/main" id="{EC930CE4-838C-74BB-D895-C1C8F82D6D96}"/>
              </a:ext>
            </a:extLst>
          </p:cNvPr>
          <p:cNvSpPr txBox="1"/>
          <p:nvPr/>
        </p:nvSpPr>
        <p:spPr>
          <a:xfrm>
            <a:off x="10262860" y="2727886"/>
            <a:ext cx="1554165" cy="203132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s" sz="9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CH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5. </a:t>
            </a: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CH" sz="9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CH" sz="9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CH" sz="900" dirty="0">
                <a:solidFill>
                  <a:schemeClr val="bg1"/>
                </a:solidFill>
                <a:latin typeface="Montserrat"/>
              </a:rPr>
              <a:t>26.</a:t>
            </a: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CH" sz="900" dirty="0">
                <a:solidFill>
                  <a:schemeClr val="bg1"/>
                </a:solidFill>
                <a:latin typeface="Montserrat"/>
              </a:rPr>
              <a:t> </a:t>
            </a:r>
            <a:endParaRPr kumimoji="0" lang="es" sz="9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CH" sz="9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CH" sz="900" dirty="0">
                <a:solidFill>
                  <a:schemeClr val="bg1"/>
                </a:solidFill>
                <a:latin typeface="Montserrat"/>
              </a:rPr>
              <a:t>27.</a:t>
            </a: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CH" sz="900" dirty="0">
                <a:solidFill>
                  <a:schemeClr val="bg1"/>
                </a:solidFill>
                <a:latin typeface="Montserrat"/>
              </a:rPr>
              <a:t> </a:t>
            </a: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CH" sz="9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CH" sz="900" dirty="0">
                <a:solidFill>
                  <a:schemeClr val="bg1"/>
                </a:solidFill>
                <a:latin typeface="Montserrat"/>
              </a:rPr>
              <a:t>28.</a:t>
            </a: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CH" sz="900" dirty="0">
                <a:solidFill>
                  <a:schemeClr val="bg1"/>
                </a:solidFill>
                <a:latin typeface="Montserrat"/>
              </a:rPr>
              <a:t> </a:t>
            </a: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CH" sz="900" dirty="0">
              <a:solidFill>
                <a:schemeClr val="bg1"/>
              </a:solidFill>
              <a:latin typeface="Montserrat"/>
            </a:endParaRPr>
          </a:p>
          <a:p>
            <a:pPr marR="0" lvl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CH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9. </a:t>
            </a:r>
            <a:endParaRPr kumimoji="0" lang="es" sz="9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16484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347DFE-7BA3-5FE4-B503-0EDA4C297B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A9694BEC-AA0B-10FB-1D3C-6530493B7D34}"/>
              </a:ext>
            </a:extLst>
          </p:cNvPr>
          <p:cNvGrpSpPr/>
          <p:nvPr/>
        </p:nvGrpSpPr>
        <p:grpSpPr>
          <a:xfrm>
            <a:off x="241544" y="214743"/>
            <a:ext cx="11679308" cy="5701754"/>
            <a:chOff x="261038" y="2184730"/>
            <a:chExt cx="17518962" cy="7553630"/>
          </a:xfrm>
        </p:grpSpPr>
        <p:grpSp>
          <p:nvGrpSpPr>
            <p:cNvPr id="64" name="Grupo 63">
              <a:extLst>
                <a:ext uri="{FF2B5EF4-FFF2-40B4-BE49-F238E27FC236}">
                  <a16:creationId xmlns:a16="http://schemas.microsoft.com/office/drawing/2014/main" id="{0BDBC6A5-48AC-3311-6607-53E75C2A4F7C}"/>
                </a:ext>
              </a:extLst>
            </p:cNvPr>
            <p:cNvGrpSpPr/>
            <p:nvPr/>
          </p:nvGrpSpPr>
          <p:grpSpPr>
            <a:xfrm>
              <a:off x="288189" y="2184730"/>
              <a:ext cx="17491811" cy="7553630"/>
              <a:chOff x="288189" y="2184730"/>
              <a:chExt cx="17491811" cy="7553630"/>
            </a:xfrm>
          </p:grpSpPr>
          <p:cxnSp>
            <p:nvCxnSpPr>
              <p:cNvPr id="59" name="Conector recto 58">
                <a:extLst>
                  <a:ext uri="{FF2B5EF4-FFF2-40B4-BE49-F238E27FC236}">
                    <a16:creationId xmlns:a16="http://schemas.microsoft.com/office/drawing/2014/main" id="{9186ABC7-00D7-14D7-CA42-D4CE93CCF68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69730" y="4884063"/>
                <a:ext cx="0" cy="1346478"/>
              </a:xfrm>
              <a:prstGeom prst="line">
                <a:avLst/>
              </a:prstGeom>
              <a:ln w="38100">
                <a:solidFill>
                  <a:schemeClr val="tx2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3" name="Grupo 62">
                <a:extLst>
                  <a:ext uri="{FF2B5EF4-FFF2-40B4-BE49-F238E27FC236}">
                    <a16:creationId xmlns:a16="http://schemas.microsoft.com/office/drawing/2014/main" id="{7076228C-5892-3F40-8D45-6C6651E4E15A}"/>
                  </a:ext>
                </a:extLst>
              </p:cNvPr>
              <p:cNvGrpSpPr/>
              <p:nvPr/>
            </p:nvGrpSpPr>
            <p:grpSpPr>
              <a:xfrm>
                <a:off x="288189" y="2184730"/>
                <a:ext cx="17491811" cy="7553630"/>
                <a:chOff x="288189" y="2184730"/>
                <a:chExt cx="17491811" cy="7553630"/>
              </a:xfrm>
            </p:grpSpPr>
            <p:grpSp>
              <p:nvGrpSpPr>
                <p:cNvPr id="62" name="Grupo 61">
                  <a:extLst>
                    <a:ext uri="{FF2B5EF4-FFF2-40B4-BE49-F238E27FC236}">
                      <a16:creationId xmlns:a16="http://schemas.microsoft.com/office/drawing/2014/main" id="{5663EBDF-C564-3019-6FC5-8B59FD9FA48E}"/>
                    </a:ext>
                  </a:extLst>
                </p:cNvPr>
                <p:cNvGrpSpPr/>
                <p:nvPr/>
              </p:nvGrpSpPr>
              <p:grpSpPr>
                <a:xfrm>
                  <a:off x="288189" y="2184730"/>
                  <a:ext cx="17491811" cy="7553630"/>
                  <a:chOff x="288189" y="2184730"/>
                  <a:chExt cx="17491811" cy="7553630"/>
                </a:xfrm>
              </p:grpSpPr>
              <p:cxnSp>
                <p:nvCxnSpPr>
                  <p:cNvPr id="61" name="Conector recto 60">
                    <a:extLst>
                      <a:ext uri="{FF2B5EF4-FFF2-40B4-BE49-F238E27FC236}">
                        <a16:creationId xmlns:a16="http://schemas.microsoft.com/office/drawing/2014/main" id="{57040251-4736-B2CC-5DCB-FCA1E9ABFD4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6408400" y="2529840"/>
                    <a:ext cx="0" cy="2311122"/>
                  </a:xfrm>
                  <a:prstGeom prst="line">
                    <a:avLst/>
                  </a:prstGeom>
                  <a:ln w="38100">
                    <a:solidFill>
                      <a:schemeClr val="tx1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3" name="Conector recto 42">
                    <a:extLst>
                      <a:ext uri="{FF2B5EF4-FFF2-40B4-BE49-F238E27FC236}">
                        <a16:creationId xmlns:a16="http://schemas.microsoft.com/office/drawing/2014/main" id="{249D10CE-0837-23EF-55CA-D55F729D577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3505200" y="2589468"/>
                    <a:ext cx="0" cy="2294595"/>
                  </a:xfrm>
                  <a:prstGeom prst="line">
                    <a:avLst/>
                  </a:prstGeom>
                  <a:ln w="38100">
                    <a:solidFill>
                      <a:schemeClr val="tx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4" name="Conector recto 43">
                    <a:extLst>
                      <a:ext uri="{FF2B5EF4-FFF2-40B4-BE49-F238E27FC236}">
                        <a16:creationId xmlns:a16="http://schemas.microsoft.com/office/drawing/2014/main" id="{D458430D-9635-B995-4C36-40362E5E81ED}"/>
                      </a:ext>
                    </a:extLst>
                  </p:cNvPr>
                  <p:cNvCxnSpPr/>
                  <p:nvPr/>
                </p:nvCxnSpPr>
                <p:spPr>
                  <a:xfrm>
                    <a:off x="9906000" y="2529840"/>
                    <a:ext cx="0" cy="3657600"/>
                  </a:xfrm>
                  <a:prstGeom prst="line">
                    <a:avLst/>
                  </a:prstGeom>
                  <a:ln w="38100">
                    <a:solidFill>
                      <a:schemeClr val="tx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5" name="Conector recto 44">
                    <a:extLst>
                      <a:ext uri="{FF2B5EF4-FFF2-40B4-BE49-F238E27FC236}">
                        <a16:creationId xmlns:a16="http://schemas.microsoft.com/office/drawing/2014/main" id="{1A75B0EE-2764-0521-2D5A-838FD0121B3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3268287" y="2529840"/>
                    <a:ext cx="0" cy="2221230"/>
                  </a:xfrm>
                  <a:prstGeom prst="line">
                    <a:avLst/>
                  </a:prstGeom>
                  <a:ln w="38100">
                    <a:solidFill>
                      <a:schemeClr val="tx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7" name="Conector recto 46">
                    <a:extLst>
                      <a:ext uri="{FF2B5EF4-FFF2-40B4-BE49-F238E27FC236}">
                        <a16:creationId xmlns:a16="http://schemas.microsoft.com/office/drawing/2014/main" id="{6654272E-250D-B56A-B8A1-57C47D18DFE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2278555" y="4751070"/>
                    <a:ext cx="3876" cy="2145030"/>
                  </a:xfrm>
                  <a:prstGeom prst="line">
                    <a:avLst/>
                  </a:prstGeom>
                  <a:ln w="38100">
                    <a:solidFill>
                      <a:schemeClr val="tx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1" name="Conector recto 50">
                    <a:extLst>
                      <a:ext uri="{FF2B5EF4-FFF2-40B4-BE49-F238E27FC236}">
                        <a16:creationId xmlns:a16="http://schemas.microsoft.com/office/drawing/2014/main" id="{DBE3427A-E3E3-13F4-CE27-6E103203F2C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4191114" y="4884063"/>
                    <a:ext cx="3876" cy="2145030"/>
                  </a:xfrm>
                  <a:prstGeom prst="line">
                    <a:avLst/>
                  </a:prstGeom>
                  <a:ln w="38100">
                    <a:solidFill>
                      <a:schemeClr val="tx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3" name="Conector recto 52">
                    <a:extLst>
                      <a:ext uri="{FF2B5EF4-FFF2-40B4-BE49-F238E27FC236}">
                        <a16:creationId xmlns:a16="http://schemas.microsoft.com/office/drawing/2014/main" id="{FA436A79-52F0-A064-017B-C8097F3A7AA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162800" y="3609666"/>
                    <a:ext cx="0" cy="1346478"/>
                  </a:xfrm>
                  <a:prstGeom prst="line">
                    <a:avLst/>
                  </a:prstGeom>
                  <a:ln w="38100">
                    <a:solidFill>
                      <a:schemeClr val="tx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5" name="Conector recto 54">
                    <a:extLst>
                      <a:ext uri="{FF2B5EF4-FFF2-40B4-BE49-F238E27FC236}">
                        <a16:creationId xmlns:a16="http://schemas.microsoft.com/office/drawing/2014/main" id="{B72BB15A-E15B-5C07-F631-AE0B11BC5EF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066800" y="4884063"/>
                    <a:ext cx="0" cy="1346478"/>
                  </a:xfrm>
                  <a:prstGeom prst="line">
                    <a:avLst/>
                  </a:prstGeom>
                  <a:ln w="38100">
                    <a:solidFill>
                      <a:schemeClr val="tx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6" name="Conector recto 55">
                    <a:extLst>
                      <a:ext uri="{FF2B5EF4-FFF2-40B4-BE49-F238E27FC236}">
                        <a16:creationId xmlns:a16="http://schemas.microsoft.com/office/drawing/2014/main" id="{15DABC78-435B-9473-3FC8-3AB669B6EF2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667000" y="4840962"/>
                    <a:ext cx="0" cy="1346478"/>
                  </a:xfrm>
                  <a:prstGeom prst="line">
                    <a:avLst/>
                  </a:prstGeom>
                  <a:ln w="38100">
                    <a:solidFill>
                      <a:schemeClr val="tx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7" name="Conector recto 56">
                    <a:extLst>
                      <a:ext uri="{FF2B5EF4-FFF2-40B4-BE49-F238E27FC236}">
                        <a16:creationId xmlns:a16="http://schemas.microsoft.com/office/drawing/2014/main" id="{D73F5E48-7220-82E1-FAC1-88B81A50919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114800" y="4884063"/>
                    <a:ext cx="0" cy="1346478"/>
                  </a:xfrm>
                  <a:prstGeom prst="line">
                    <a:avLst/>
                  </a:prstGeom>
                  <a:ln w="38100">
                    <a:solidFill>
                      <a:schemeClr val="tx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8" name="Conector recto 57">
                    <a:extLst>
                      <a:ext uri="{FF2B5EF4-FFF2-40B4-BE49-F238E27FC236}">
                        <a16:creationId xmlns:a16="http://schemas.microsoft.com/office/drawing/2014/main" id="{B76DE88C-8E90-E280-94B8-FB79A0BDDEF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5638800" y="4884063"/>
                    <a:ext cx="0" cy="1346478"/>
                  </a:xfrm>
                  <a:prstGeom prst="line">
                    <a:avLst/>
                  </a:prstGeom>
                  <a:ln w="38100">
                    <a:solidFill>
                      <a:schemeClr val="tx2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0" name="Conector recto 59">
                    <a:extLst>
                      <a:ext uri="{FF2B5EF4-FFF2-40B4-BE49-F238E27FC236}">
                        <a16:creationId xmlns:a16="http://schemas.microsoft.com/office/drawing/2014/main" id="{E644939F-9C2D-B12E-33BD-0AF98ED50B3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6433800" y="5013043"/>
                    <a:ext cx="0" cy="1346478"/>
                  </a:xfrm>
                  <a:prstGeom prst="line">
                    <a:avLst/>
                  </a:prstGeom>
                  <a:ln w="38100">
                    <a:solidFill>
                      <a:schemeClr val="tx1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0" name="Rectángulo 9">
                    <a:extLst>
                      <a:ext uri="{FF2B5EF4-FFF2-40B4-BE49-F238E27FC236}">
                        <a16:creationId xmlns:a16="http://schemas.microsoft.com/office/drawing/2014/main" id="{C28021B7-1325-AEB9-525C-0EB9E5565CC7}"/>
                      </a:ext>
                    </a:extLst>
                  </p:cNvPr>
                  <p:cNvSpPr/>
                  <p:nvPr/>
                </p:nvSpPr>
                <p:spPr>
                  <a:xfrm>
                    <a:off x="11582400" y="4247515"/>
                    <a:ext cx="3508367" cy="895985"/>
                  </a:xfrm>
                  <a:prstGeom prst="rect">
                    <a:avLst/>
                  </a:prstGeom>
                  <a:solidFill>
                    <a:schemeClr val="tx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1440" tIns="45720" rIns="91440" bIns="45720" rtlCol="0" anchor="ctr"/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CH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/>
                        <a:ea typeface="+mn-ea"/>
                        <a:cs typeface="+mn-cs"/>
                      </a:rPr>
                      <a:t>7. </a:t>
                    </a:r>
                    <a:r>
                      <a:rPr kumimoji="0" lang="e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/>
                        <a:ea typeface="+mn-ea"/>
                        <a:cs typeface="+mn-cs"/>
                      </a:rPr>
                      <a:t>Políticas </a:t>
                    </a:r>
                    <a:r>
                      <a:rPr kumimoji="0" lang="en-CH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/>
                        <a:ea typeface="+mn-ea"/>
                        <a:cs typeface="+mn-cs"/>
                      </a:rPr>
                      <a:t>e </a:t>
                    </a:r>
                    <a:r>
                      <a:rPr kumimoji="0" lang="en-CH" sz="1300" b="1" i="0" u="none" strike="noStrike" kern="1200" cap="none" spc="0" normalizeH="0" baseline="0" noProof="0" dirty="0" err="1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/>
                        <a:ea typeface="+mn-ea"/>
                        <a:cs typeface="+mn-cs"/>
                      </a:rPr>
                      <a:t>intervenciones</a:t>
                    </a:r>
                    <a:r>
                      <a:rPr kumimoji="0" lang="en-CH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/>
                        <a:ea typeface="+mn-ea"/>
                        <a:cs typeface="+mn-cs"/>
                      </a:rPr>
                      <a:t> en el</a:t>
                    </a:r>
                    <a:r>
                      <a:rPr kumimoji="0" lang="e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/>
                        <a:ea typeface="+mn-ea"/>
                        <a:cs typeface="+mn-cs"/>
                      </a:rPr>
                      <a:t> mercado laboral</a:t>
                    </a:r>
                  </a:p>
                </p:txBody>
              </p:sp>
              <p:sp>
                <p:nvSpPr>
                  <p:cNvPr id="7" name="Rectángulo 6">
                    <a:extLst>
                      <a:ext uri="{FF2B5EF4-FFF2-40B4-BE49-F238E27FC236}">
                        <a16:creationId xmlns:a16="http://schemas.microsoft.com/office/drawing/2014/main" id="{1329D118-9344-D8C2-89F6-66EFFB423A25}"/>
                      </a:ext>
                    </a:extLst>
                  </p:cNvPr>
                  <p:cNvSpPr/>
                  <p:nvPr/>
                </p:nvSpPr>
                <p:spPr>
                  <a:xfrm>
                    <a:off x="296460" y="4263390"/>
                    <a:ext cx="6234011" cy="880110"/>
                  </a:xfrm>
                  <a:prstGeom prst="rect">
                    <a:avLst/>
                  </a:prstGeom>
                  <a:solidFill>
                    <a:schemeClr val="tx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CH" sz="1333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rPr>
                      <a:t>4. </a:t>
                    </a:r>
                    <a:r>
                      <a:rPr kumimoji="0" lang="es" sz="1333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rPr>
                      <a:t>Asistencia social</a:t>
                    </a:r>
                  </a:p>
                </p:txBody>
              </p:sp>
              <p:sp>
                <p:nvSpPr>
                  <p:cNvPr id="22" name="Rectángulo 21">
                    <a:extLst>
                      <a:ext uri="{FF2B5EF4-FFF2-40B4-BE49-F238E27FC236}">
                        <a16:creationId xmlns:a16="http://schemas.microsoft.com/office/drawing/2014/main" id="{6668FFF6-5CBE-3D49-5CB2-8137C23CD9EC}"/>
                      </a:ext>
                    </a:extLst>
                  </p:cNvPr>
                  <p:cNvSpPr/>
                  <p:nvPr/>
                </p:nvSpPr>
                <p:spPr>
                  <a:xfrm>
                    <a:off x="11607421" y="5448300"/>
                    <a:ext cx="3508366" cy="429006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800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" name="Rectángulo 10">
                    <a:extLst>
                      <a:ext uri="{FF2B5EF4-FFF2-40B4-BE49-F238E27FC236}">
                        <a16:creationId xmlns:a16="http://schemas.microsoft.com/office/drawing/2014/main" id="{5895EAEB-F26E-1644-4855-28E746994947}"/>
                      </a:ext>
                    </a:extLst>
                  </p:cNvPr>
                  <p:cNvSpPr/>
                  <p:nvPr/>
                </p:nvSpPr>
                <p:spPr>
                  <a:xfrm>
                    <a:off x="296460" y="5448300"/>
                    <a:ext cx="6205064" cy="429006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800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0" name="Rectángulo 19">
                    <a:extLst>
                      <a:ext uri="{FF2B5EF4-FFF2-40B4-BE49-F238E27FC236}">
                        <a16:creationId xmlns:a16="http://schemas.microsoft.com/office/drawing/2014/main" id="{1EF1833A-A3CC-E090-2BFE-E2A4230C7442}"/>
                      </a:ext>
                    </a:extLst>
                  </p:cNvPr>
                  <p:cNvSpPr/>
                  <p:nvPr/>
                </p:nvSpPr>
                <p:spPr>
                  <a:xfrm>
                    <a:off x="6659118" y="5448300"/>
                    <a:ext cx="1790744" cy="429006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800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1" name="Rectángulo 20">
                    <a:extLst>
                      <a:ext uri="{FF2B5EF4-FFF2-40B4-BE49-F238E27FC236}">
                        <a16:creationId xmlns:a16="http://schemas.microsoft.com/office/drawing/2014/main" id="{C7EBC7A5-48B7-4ACD-1224-29CDA2D3A08C}"/>
                      </a:ext>
                    </a:extLst>
                  </p:cNvPr>
                  <p:cNvSpPr/>
                  <p:nvPr/>
                </p:nvSpPr>
                <p:spPr>
                  <a:xfrm>
                    <a:off x="8572466" y="5448300"/>
                    <a:ext cx="2895600" cy="429006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800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3" name="Rectángulo 22">
                    <a:extLst>
                      <a:ext uri="{FF2B5EF4-FFF2-40B4-BE49-F238E27FC236}">
                        <a16:creationId xmlns:a16="http://schemas.microsoft.com/office/drawing/2014/main" id="{8CEADAE9-CF1F-FBB9-0A0B-6D6E91E7357A}"/>
                      </a:ext>
                    </a:extLst>
                  </p:cNvPr>
                  <p:cNvSpPr/>
                  <p:nvPr/>
                </p:nvSpPr>
                <p:spPr>
                  <a:xfrm>
                    <a:off x="296461" y="2184730"/>
                    <a:ext cx="17483539" cy="784800"/>
                  </a:xfrm>
                  <a:prstGeom prst="rect">
                    <a:avLst/>
                  </a:prstGeom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1440" tIns="45720" rIns="91440" bIns="45720" rtlCol="0" anchor="ctr"/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CH" sz="265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/>
                        <a:ea typeface="+mn-ea"/>
                        <a:cs typeface="+mn-cs"/>
                      </a:rPr>
                      <a:t>1. </a:t>
                    </a:r>
                    <a:r>
                      <a:rPr kumimoji="0" lang="es" sz="265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/>
                        <a:ea typeface="+mn-ea"/>
                        <a:cs typeface="+mn-cs"/>
                      </a:rPr>
                      <a:t>Protección social</a:t>
                    </a:r>
                  </a:p>
                </p:txBody>
              </p:sp>
              <p:sp>
                <p:nvSpPr>
                  <p:cNvPr id="24" name="Rectángulo 23">
                    <a:extLst>
                      <a:ext uri="{FF2B5EF4-FFF2-40B4-BE49-F238E27FC236}">
                        <a16:creationId xmlns:a16="http://schemas.microsoft.com/office/drawing/2014/main" id="{3C933DF7-40DB-CB24-B225-3CF0E0DFF7F7}"/>
                      </a:ext>
                    </a:extLst>
                  </p:cNvPr>
                  <p:cNvSpPr/>
                  <p:nvPr/>
                </p:nvSpPr>
                <p:spPr>
                  <a:xfrm>
                    <a:off x="288189" y="3141337"/>
                    <a:ext cx="8161673" cy="784860"/>
                  </a:xfrm>
                  <a:prstGeom prst="rect">
                    <a:avLst/>
                  </a:prstGeom>
                  <a:solidFill>
                    <a:schemeClr val="accent1">
                      <a:lumMod val="90000"/>
                      <a:lumOff val="1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91440" tIns="45720" rIns="91440" bIns="45720" rtlCol="0" anchor="ctr"/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lang="en-CH" sz="1600" b="1" dirty="0">
                        <a:solidFill>
                          <a:schemeClr val="bg1"/>
                        </a:solidFill>
                        <a:latin typeface="Montserrat"/>
                      </a:rPr>
                      <a:t>2</a:t>
                    </a:r>
                    <a:r>
                      <a:rPr kumimoji="0" lang="en-CH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/>
                        <a:ea typeface="+mn-ea"/>
                        <a:cs typeface="+mn-cs"/>
                      </a:rPr>
                      <a:t>. </a:t>
                    </a:r>
                    <a:r>
                      <a:rPr kumimoji="0" lang="e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/>
                        <a:ea typeface="+mn-ea"/>
                        <a:cs typeface="+mn-cs"/>
                      </a:rPr>
                      <a:t>No contributiv</a:t>
                    </a:r>
                    <a:r>
                      <a:rPr kumimoji="0" lang="en-CH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/>
                        <a:ea typeface="+mn-ea"/>
                        <a:cs typeface="+mn-cs"/>
                      </a:rPr>
                      <a:t>a</a:t>
                    </a:r>
                    <a:endParaRPr kumimoji="0" lang="e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ontserra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" name="Rectángulo 26">
                    <a:extLst>
                      <a:ext uri="{FF2B5EF4-FFF2-40B4-BE49-F238E27FC236}">
                        <a16:creationId xmlns:a16="http://schemas.microsoft.com/office/drawing/2014/main" id="{F16D00E8-1DA1-F0C1-2012-800E45C5FE1B}"/>
                      </a:ext>
                    </a:extLst>
                  </p:cNvPr>
                  <p:cNvSpPr/>
                  <p:nvPr/>
                </p:nvSpPr>
                <p:spPr>
                  <a:xfrm>
                    <a:off x="6653142" y="4260832"/>
                    <a:ext cx="1804991" cy="895985"/>
                  </a:xfrm>
                  <a:prstGeom prst="rect">
                    <a:avLst/>
                  </a:prstGeom>
                  <a:solidFill>
                    <a:schemeClr val="tx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lang="en-CH" sz="1333" b="1" dirty="0">
                        <a:solidFill>
                          <a:schemeClr val="bg1"/>
                        </a:solidFill>
                        <a:latin typeface="Montserrat" panose="00000500000000000000" pitchFamily="2" charset="0"/>
                      </a:rPr>
                      <a:t>5. Servicios sociales </a:t>
                    </a:r>
                    <a:endParaRPr kumimoji="0" lang="es" sz="1333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ontserrat" panose="00000500000000000000" pitchFamily="2" charset="0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" name="Rectángulo 27">
                    <a:extLst>
                      <a:ext uri="{FF2B5EF4-FFF2-40B4-BE49-F238E27FC236}">
                        <a16:creationId xmlns:a16="http://schemas.microsoft.com/office/drawing/2014/main" id="{A0F2704E-32BD-8C5E-0FE3-1FCF95CA449A}"/>
                      </a:ext>
                    </a:extLst>
                  </p:cNvPr>
                  <p:cNvSpPr/>
                  <p:nvPr/>
                </p:nvSpPr>
                <p:spPr>
                  <a:xfrm>
                    <a:off x="8572466" y="4247515"/>
                    <a:ext cx="2895600" cy="895985"/>
                  </a:xfrm>
                  <a:prstGeom prst="rect">
                    <a:avLst/>
                  </a:prstGeom>
                  <a:solidFill>
                    <a:schemeClr val="tx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CH" sz="1333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rPr>
                      <a:t>6. </a:t>
                    </a:r>
                    <a:r>
                      <a:rPr kumimoji="0" lang="es" sz="1333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rPr>
                      <a:t>Segur</a:t>
                    </a:r>
                    <a:r>
                      <a:rPr kumimoji="0" lang="en-CH" sz="1333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rPr>
                      <a:t>idad</a:t>
                    </a:r>
                    <a:r>
                      <a:rPr kumimoji="0" lang="es" sz="1333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rPr>
                      <a:t> </a:t>
                    </a:r>
                    <a:r>
                      <a:rPr lang="en-CH" sz="1333" b="1" dirty="0">
                        <a:solidFill>
                          <a:schemeClr val="bg1"/>
                        </a:solidFill>
                        <a:latin typeface="Montserrat" panose="00000500000000000000" pitchFamily="2" charset="0"/>
                      </a:rPr>
                      <a:t>s</a:t>
                    </a:r>
                    <a:r>
                      <a:rPr kumimoji="0" lang="es" sz="1333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+mn-cs"/>
                      </a:rPr>
                      <a:t>ocial</a:t>
                    </a:r>
                  </a:p>
                </p:txBody>
              </p:sp>
              <p:sp>
                <p:nvSpPr>
                  <p:cNvPr id="34" name="Rectángulo 33">
                    <a:extLst>
                      <a:ext uri="{FF2B5EF4-FFF2-40B4-BE49-F238E27FC236}">
                        <a16:creationId xmlns:a16="http://schemas.microsoft.com/office/drawing/2014/main" id="{F85DDAEE-9D53-615C-831B-26DC5BA12E12}"/>
                      </a:ext>
                    </a:extLst>
                  </p:cNvPr>
                  <p:cNvSpPr/>
                  <p:nvPr/>
                </p:nvSpPr>
                <p:spPr>
                  <a:xfrm>
                    <a:off x="15240000" y="3958675"/>
                    <a:ext cx="2530473" cy="1184826"/>
                  </a:xfrm>
                  <a:prstGeom prst="rect">
                    <a:avLst/>
                  </a:prstGeom>
                  <a:solidFill>
                    <a:schemeClr val="tx2">
                      <a:lumMod val="75000"/>
                    </a:schemeClr>
                  </a:solidFill>
                  <a:ln w="28575">
                    <a:solidFill>
                      <a:schemeClr val="tx1"/>
                    </a:solidFill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CH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/>
                        <a:ea typeface="+mn-ea"/>
                        <a:cs typeface="+mn-cs"/>
                      </a:rPr>
                      <a:t>8. </a:t>
                    </a:r>
                    <a:r>
                      <a:rPr kumimoji="0" lang="e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/>
                        <a:ea typeface="+mn-ea"/>
                        <a:cs typeface="+mn-cs"/>
                      </a:rPr>
                      <a:t>Redes de </a:t>
                    </a:r>
                    <a:r>
                      <a:rPr lang="en-CH" sz="1300" b="1" dirty="0" err="1">
                        <a:solidFill>
                          <a:schemeClr val="bg1"/>
                        </a:solidFill>
                        <a:latin typeface="Montserrat"/>
                      </a:rPr>
                      <a:t>protección</a:t>
                    </a:r>
                    <a:r>
                      <a:rPr kumimoji="0" lang="e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/>
                        <a:ea typeface="+mn-ea"/>
                        <a:cs typeface="+mn-cs"/>
                      </a:rPr>
                      <a:t> comunitari</a:t>
                    </a:r>
                    <a:r>
                      <a:rPr kumimoji="0" lang="en-CH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"/>
                        <a:ea typeface="+mn-ea"/>
                        <a:cs typeface="+mn-cs"/>
                      </a:rPr>
                      <a:t>o</a:t>
                    </a:r>
                    <a:r>
                      <a:rPr lang="en-CH" sz="1300" b="1" dirty="0">
                        <a:solidFill>
                          <a:schemeClr val="bg1"/>
                        </a:solidFill>
                        <a:latin typeface="Montserrat"/>
                      </a:rPr>
                      <a:t>s</a:t>
                    </a:r>
                    <a:endParaRPr kumimoji="0" lang="es" sz="13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ontserra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" name="Rectángulo 34">
                    <a:extLst>
                      <a:ext uri="{FF2B5EF4-FFF2-40B4-BE49-F238E27FC236}">
                        <a16:creationId xmlns:a16="http://schemas.microsoft.com/office/drawing/2014/main" id="{FF13311A-0536-7A99-E0C7-6F33F2F46B50}"/>
                      </a:ext>
                    </a:extLst>
                  </p:cNvPr>
                  <p:cNvSpPr/>
                  <p:nvPr/>
                </p:nvSpPr>
                <p:spPr>
                  <a:xfrm>
                    <a:off x="15240000" y="5448300"/>
                    <a:ext cx="2540000" cy="4290060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solidFill>
                      <a:schemeClr val="tx1"/>
                    </a:solidFill>
                    <a:prstDash val="sys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marL="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304770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60953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914309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21907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1523848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182861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2133387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2438156" algn="l" defTabSz="609539" rtl="0" eaLnBrk="1" latinLnBrk="0" hangingPunct="1"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609539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800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25" name="Rectángulo 24">
                  <a:extLst>
                    <a:ext uri="{FF2B5EF4-FFF2-40B4-BE49-F238E27FC236}">
                      <a16:creationId xmlns:a16="http://schemas.microsoft.com/office/drawing/2014/main" id="{B7558570-3572-FDCF-70F7-8DA2D981C338}"/>
                    </a:ext>
                  </a:extLst>
                </p:cNvPr>
                <p:cNvSpPr/>
                <p:nvPr/>
              </p:nvSpPr>
              <p:spPr>
                <a:xfrm>
                  <a:off x="8572466" y="3141336"/>
                  <a:ext cx="2895600" cy="784860"/>
                </a:xfrm>
                <a:prstGeom prst="rect">
                  <a:avLst/>
                </a:prstGeom>
                <a:solidFill>
                  <a:schemeClr val="accent1">
                    <a:lumMod val="90000"/>
                    <a:lumOff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440" tIns="45720" rIns="91440" bIns="45720" rtlCol="0" anchor="ctr"/>
                <a:lstStyle>
                  <a:defPPr>
                    <a:defRPr lang="en-US"/>
                  </a:defPPr>
                  <a:lvl1pPr marL="0" algn="l" defTabSz="609539" rtl="0" eaLnBrk="1" latinLnBrk="0" hangingPunct="1"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04770" algn="l" defTabSz="609539" rtl="0" eaLnBrk="1" latinLnBrk="0" hangingPunct="1"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09539" algn="l" defTabSz="609539" rtl="0" eaLnBrk="1" latinLnBrk="0" hangingPunct="1"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914309" algn="l" defTabSz="609539" rtl="0" eaLnBrk="1" latinLnBrk="0" hangingPunct="1"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219078" algn="l" defTabSz="609539" rtl="0" eaLnBrk="1" latinLnBrk="0" hangingPunct="1"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523848" algn="l" defTabSz="609539" rtl="0" eaLnBrk="1" latinLnBrk="0" hangingPunct="1"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1828617" algn="l" defTabSz="609539" rtl="0" eaLnBrk="1" latinLnBrk="0" hangingPunct="1"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133387" algn="l" defTabSz="609539" rtl="0" eaLnBrk="1" latinLnBrk="0" hangingPunct="1"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438156" algn="l" defTabSz="609539" rtl="0" eaLnBrk="1" latinLnBrk="0" hangingPunct="1"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0953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CH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ontserrat"/>
                      <a:ea typeface="+mn-ea"/>
                      <a:cs typeface="+mn-cs"/>
                    </a:rPr>
                    <a:t>3. </a:t>
                  </a:r>
                  <a:r>
                    <a:rPr kumimoji="0" lang="e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ontserrat"/>
                      <a:ea typeface="+mn-ea"/>
                      <a:cs typeface="+mn-cs"/>
                    </a:rPr>
                    <a:t>Contributiv</a:t>
                  </a:r>
                  <a:r>
                    <a:rPr kumimoji="0" lang="en-CH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Montserrat"/>
                      <a:ea typeface="+mn-ea"/>
                      <a:cs typeface="+mn-cs"/>
                    </a:rPr>
                    <a:t>a</a:t>
                  </a:r>
                  <a:endParaRPr kumimoji="0" lang="e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ontserra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2" name="CuadroTexto 11">
              <a:extLst>
                <a:ext uri="{FF2B5EF4-FFF2-40B4-BE49-F238E27FC236}">
                  <a16:creationId xmlns:a16="http://schemas.microsoft.com/office/drawing/2014/main" id="{65E83A65-F080-A0AB-D51B-34D3A9ECC017}"/>
                </a:ext>
              </a:extLst>
            </p:cNvPr>
            <p:cNvSpPr txBox="1"/>
            <p:nvPr/>
          </p:nvSpPr>
          <p:spPr>
            <a:xfrm>
              <a:off x="6753502" y="6009787"/>
              <a:ext cx="1932008" cy="14134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CH" sz="933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17.</a:t>
              </a:r>
              <a:r>
                <a:rPr kumimoji="0" lang="es" sz="9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Servicios de apoyo familiar</a:t>
              </a:r>
              <a:endPara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CH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CH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H" sz="900" dirty="0">
                  <a:solidFill>
                    <a:schemeClr val="bg1"/>
                  </a:solidFill>
                  <a:latin typeface="Montserrat"/>
                </a:rPr>
                <a:t>18.</a:t>
              </a:r>
              <a:r>
                <a:rPr lang="de-DE" sz="900" dirty="0">
                  <a:solidFill>
                    <a:schemeClr val="bg1"/>
                  </a:solidFill>
                  <a:latin typeface="Montserrat" panose="00000500000000000000" pitchFamily="2" charset="0"/>
                </a:rPr>
                <a:t>Cuidados en el hogar</a:t>
              </a:r>
              <a:r>
                <a:rPr lang="es" sz="900" dirty="0">
                  <a:solidFill>
                    <a:schemeClr val="bg1"/>
                  </a:solidFill>
                  <a:latin typeface="Montserrat" panose="00000500000000000000" pitchFamily="2" charset="0"/>
                </a:rPr>
                <a:t> </a:t>
              </a:r>
              <a:endParaRPr kumimoji="0" lang="es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s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EF2065AB-A0CF-381C-65DF-80A3831CA9EB}"/>
                </a:ext>
              </a:extLst>
            </p:cNvPr>
            <p:cNvSpPr txBox="1"/>
            <p:nvPr/>
          </p:nvSpPr>
          <p:spPr>
            <a:xfrm>
              <a:off x="8723704" y="5904368"/>
              <a:ext cx="2652714" cy="178037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H" sz="933" dirty="0">
                  <a:solidFill>
                    <a:schemeClr val="bg1"/>
                  </a:solidFill>
                  <a:latin typeface="Montserrat" panose="00000500000000000000" pitchFamily="2" charset="0"/>
                </a:rPr>
                <a:t>19. </a:t>
              </a:r>
              <a:r>
                <a:rPr lang="de-DE" sz="900" dirty="0">
                  <a:solidFill>
                    <a:schemeClr val="bg1"/>
                  </a:solidFill>
                  <a:latin typeface="Montserrat"/>
                </a:rPr>
                <a:t>Seguro sanitario</a:t>
              </a:r>
              <a:endParaRPr lang="en-US" sz="900" dirty="0">
                <a:solidFill>
                  <a:schemeClr val="bg1"/>
                </a:solidFill>
                <a:latin typeface="Montserrat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CH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CH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H" sz="900" dirty="0">
                  <a:solidFill>
                    <a:schemeClr val="bg1"/>
                  </a:solidFill>
                  <a:latin typeface="Montserrat"/>
                </a:rPr>
                <a:t>20. </a:t>
              </a:r>
              <a:r>
                <a:rPr lang="de-DE" sz="900" dirty="0">
                  <a:solidFill>
                    <a:schemeClr val="bg1"/>
                  </a:solidFill>
                  <a:latin typeface="Montserrat"/>
                </a:rPr>
                <a:t>Seguro </a:t>
              </a:r>
              <a:r>
                <a:rPr lang="de-DE" sz="900" dirty="0" err="1">
                  <a:solidFill>
                    <a:schemeClr val="bg1"/>
                  </a:solidFill>
                  <a:latin typeface="Montserrat"/>
                </a:rPr>
                <a:t>climático</a:t>
              </a:r>
              <a:r>
                <a:rPr lang="de-DE" sz="900" dirty="0">
                  <a:solidFill>
                    <a:schemeClr val="bg1"/>
                  </a:solidFill>
                  <a:latin typeface="Montserrat"/>
                </a:rPr>
                <a:t> </a:t>
              </a:r>
              <a:r>
                <a:rPr lang="en-CH" sz="900" dirty="0">
                  <a:solidFill>
                    <a:schemeClr val="bg1"/>
                  </a:solidFill>
                  <a:latin typeface="Montserrat"/>
                </a:rPr>
                <a:t>(</a:t>
              </a:r>
              <a:r>
                <a:rPr lang="de-DE" sz="900" dirty="0">
                  <a:solidFill>
                    <a:schemeClr val="bg1"/>
                  </a:solidFill>
                  <a:latin typeface="Montserrat"/>
                </a:rPr>
                <a:t>agricultura/ ganadería</a:t>
              </a:r>
              <a:r>
                <a:rPr lang="en-CH" sz="900" dirty="0">
                  <a:solidFill>
                    <a:schemeClr val="bg1"/>
                  </a:solidFill>
                  <a:latin typeface="Montserrat"/>
                </a:rPr>
                <a:t>)</a:t>
              </a: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lang="en-CH" sz="900" dirty="0">
                <a:solidFill>
                  <a:schemeClr val="bg1"/>
                </a:solidFill>
                <a:latin typeface="Montserrat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lang="en-CH" sz="900" dirty="0">
                <a:solidFill>
                  <a:schemeClr val="bg1"/>
                </a:solidFill>
                <a:latin typeface="Montserrat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H" sz="900" dirty="0">
                  <a:solidFill>
                    <a:schemeClr val="bg1"/>
                  </a:solidFill>
                  <a:latin typeface="Montserrat"/>
                </a:rPr>
                <a:t>21. Pensiones de mayores</a:t>
              </a:r>
            </a:p>
            <a:p>
              <a:pPr marL="177800" marR="0" lvl="1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s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14" name="CuadroTexto 13">
              <a:extLst>
                <a:ext uri="{FF2B5EF4-FFF2-40B4-BE49-F238E27FC236}">
                  <a16:creationId xmlns:a16="http://schemas.microsoft.com/office/drawing/2014/main" id="{1DCE6BE7-C5B1-74E0-CC39-78AB7F625937}"/>
                </a:ext>
              </a:extLst>
            </p:cNvPr>
            <p:cNvSpPr txBox="1"/>
            <p:nvPr/>
          </p:nvSpPr>
          <p:spPr>
            <a:xfrm>
              <a:off x="11767822" y="5488551"/>
              <a:ext cx="1604642" cy="180424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H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Activas</a:t>
              </a:r>
              <a:endParaRPr kumimoji="0" lang="es" sz="105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CH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H" sz="900" dirty="0">
                  <a:solidFill>
                    <a:schemeClr val="bg1"/>
                  </a:solidFill>
                  <a:latin typeface="Montserrat"/>
                </a:rPr>
                <a:t>22.</a:t>
              </a:r>
              <a:r>
                <a:rPr kumimoji="0" lang="es" sz="9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Formación profesional</a:t>
              </a: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CH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CH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H" sz="900" dirty="0">
                  <a:solidFill>
                    <a:schemeClr val="bg1"/>
                  </a:solidFill>
                  <a:latin typeface="Montserrat"/>
                </a:rPr>
                <a:t>23. </a:t>
              </a:r>
              <a:r>
                <a:rPr kumimoji="0" lang="es" sz="9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Servicios de búsqueda de empleo</a:t>
              </a:r>
            </a:p>
          </p:txBody>
        </p:sp>
        <p:sp>
          <p:nvSpPr>
            <p:cNvPr id="15" name="CuadroTexto 14">
              <a:extLst>
                <a:ext uri="{FF2B5EF4-FFF2-40B4-BE49-F238E27FC236}">
                  <a16:creationId xmlns:a16="http://schemas.microsoft.com/office/drawing/2014/main" id="{3B295580-3B2B-B4CD-D808-D005B242D7F7}"/>
                </a:ext>
              </a:extLst>
            </p:cNvPr>
            <p:cNvSpPr txBox="1"/>
            <p:nvPr/>
          </p:nvSpPr>
          <p:spPr>
            <a:xfrm>
              <a:off x="261038" y="5514200"/>
              <a:ext cx="2024406" cy="24263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H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9.</a:t>
              </a:r>
              <a:r>
                <a:rPr kumimoji="0" lang="es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Transferencias sociales</a:t>
              </a:r>
              <a:endParaRPr kumimoji="0" lang="en-CH" sz="1067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  <a:p>
              <a:pPr marL="0" marR="0" lvl="0" indent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" sz="1067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CH" sz="9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10. </a:t>
              </a:r>
              <a:r>
                <a:rPr kumimoji="0" lang="es" sz="9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Transferencias </a:t>
              </a:r>
              <a:r>
                <a:rPr kumimoji="0" lang="en-CH" sz="9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de </a:t>
              </a:r>
              <a:r>
                <a:rPr kumimoji="0" lang="en-CH" sz="90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efectivo</a:t>
              </a:r>
              <a:endParaRPr kumimoji="0" lang="es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lang="en-CH" sz="900" dirty="0">
                <a:solidFill>
                  <a:schemeClr val="bg1"/>
                </a:solidFill>
                <a:latin typeface="Montserrat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lang="en-CH" sz="900" dirty="0">
                <a:solidFill>
                  <a:schemeClr val="bg1"/>
                </a:solidFill>
                <a:latin typeface="Montserrat"/>
              </a:endParaRPr>
            </a:p>
            <a:p>
              <a:pPr>
                <a:defRPr/>
              </a:pPr>
              <a:r>
                <a:rPr lang="en-CH" sz="900" dirty="0">
                  <a:solidFill>
                    <a:schemeClr val="bg1"/>
                  </a:solidFill>
                  <a:latin typeface="Montserrat"/>
                </a:rPr>
                <a:t>11. </a:t>
              </a:r>
              <a:r>
                <a:rPr lang="de-DE" sz="900" dirty="0" err="1">
                  <a:solidFill>
                    <a:schemeClr val="bg1"/>
                  </a:solidFill>
                  <a:latin typeface="Montserrat"/>
                </a:rPr>
                <a:t>Cupones</a:t>
              </a:r>
              <a:endParaRPr lang="en-CH" sz="900" dirty="0">
                <a:solidFill>
                  <a:schemeClr val="bg1"/>
                </a:solidFill>
                <a:latin typeface="Montserrat"/>
              </a:endParaRPr>
            </a:p>
            <a:p>
              <a:pPr>
                <a:defRPr/>
              </a:pPr>
              <a:endParaRPr lang="en-CH" sz="900" dirty="0">
                <a:solidFill>
                  <a:schemeClr val="bg1"/>
                </a:solidFill>
                <a:latin typeface="Montserrat"/>
              </a:endParaRPr>
            </a:p>
            <a:p>
              <a:pPr>
                <a:defRPr/>
              </a:pPr>
              <a:endParaRPr lang="en-CH" sz="900" dirty="0">
                <a:solidFill>
                  <a:schemeClr val="bg1"/>
                </a:solidFill>
                <a:latin typeface="Montserrat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H" sz="900" dirty="0">
                  <a:solidFill>
                    <a:schemeClr val="bg1"/>
                  </a:solidFill>
                  <a:latin typeface="Montserrat"/>
                </a:rPr>
                <a:t>12. </a:t>
              </a:r>
              <a:r>
                <a:rPr lang="de-DE" sz="900" dirty="0">
                  <a:solidFill>
                    <a:schemeClr val="bg1"/>
                  </a:solidFill>
                  <a:latin typeface="Montserrat"/>
                </a:rPr>
                <a:t>Transferencias </a:t>
              </a:r>
              <a:endParaRPr lang="en-CH" sz="900" dirty="0">
                <a:solidFill>
                  <a:schemeClr val="bg1"/>
                </a:solidFill>
                <a:latin typeface="Montserrat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de-DE" sz="900" dirty="0">
                  <a:solidFill>
                    <a:schemeClr val="bg1"/>
                  </a:solidFill>
                  <a:latin typeface="Montserrat"/>
                </a:rPr>
                <a:t>en </a:t>
              </a:r>
              <a:r>
                <a:rPr lang="de-DE" sz="900" dirty="0" err="1">
                  <a:solidFill>
                    <a:schemeClr val="bg1"/>
                  </a:solidFill>
                  <a:latin typeface="Montserrat"/>
                </a:rPr>
                <a:t>especie</a:t>
              </a:r>
              <a:endParaRPr lang="es" sz="900" dirty="0">
                <a:solidFill>
                  <a:schemeClr val="bg1"/>
                </a:solidFill>
                <a:latin typeface="Montserrat"/>
              </a:endParaRPr>
            </a:p>
          </p:txBody>
        </p:sp>
        <p:sp>
          <p:nvSpPr>
            <p:cNvPr id="16" name="CuadroTexto 15">
              <a:extLst>
                <a:ext uri="{FF2B5EF4-FFF2-40B4-BE49-F238E27FC236}">
                  <a16:creationId xmlns:a16="http://schemas.microsoft.com/office/drawing/2014/main" id="{C27D5D5A-DC15-CF5E-D7EE-841441E4739C}"/>
                </a:ext>
              </a:extLst>
            </p:cNvPr>
            <p:cNvSpPr txBox="1"/>
            <p:nvPr/>
          </p:nvSpPr>
          <p:spPr>
            <a:xfrm>
              <a:off x="13324702" y="5629399"/>
              <a:ext cx="2004207" cy="12908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" sz="1067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CH" sz="933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24. </a:t>
              </a:r>
              <a:r>
                <a:rPr kumimoji="0" lang="es" sz="933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Cambios en la legislación (ej: salario mínimo, condiciones de trabajo seguras)</a:t>
              </a:r>
            </a:p>
          </p:txBody>
        </p:sp>
        <p:sp>
          <p:nvSpPr>
            <p:cNvPr id="17" name="CuadroTexto 16">
              <a:extLst>
                <a:ext uri="{FF2B5EF4-FFF2-40B4-BE49-F238E27FC236}">
                  <a16:creationId xmlns:a16="http://schemas.microsoft.com/office/drawing/2014/main" id="{2E218828-5070-BC9A-9AFD-DAB6DA37AECB}"/>
                </a:ext>
              </a:extLst>
            </p:cNvPr>
            <p:cNvSpPr txBox="1"/>
            <p:nvPr/>
          </p:nvSpPr>
          <p:spPr>
            <a:xfrm>
              <a:off x="2213599" y="5500754"/>
              <a:ext cx="1685678" cy="168192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H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13. </a:t>
              </a:r>
              <a:r>
                <a:rPr kumimoji="0" lang="es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Programa de obras públicas</a:t>
              </a:r>
              <a:endParaRPr kumimoji="0" lang="en-GB" sz="1067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CH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H" sz="900" dirty="0">
                  <a:solidFill>
                    <a:schemeClr val="bg1"/>
                  </a:solidFill>
                  <a:latin typeface="Montserrat"/>
                </a:rPr>
                <a:t>14. </a:t>
              </a:r>
              <a:r>
                <a:rPr kumimoji="0" lang="es" sz="9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Dinero por trabajo</a:t>
              </a: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GB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  <a:p>
              <a:pPr marL="0" marR="0" lvl="0" indent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32B5DE60-9326-B261-5BC8-32E01E5A4E3B}"/>
                </a:ext>
              </a:extLst>
            </p:cNvPr>
            <p:cNvSpPr txBox="1"/>
            <p:nvPr/>
          </p:nvSpPr>
          <p:spPr>
            <a:xfrm>
              <a:off x="3705217" y="5516890"/>
              <a:ext cx="1740255" cy="110786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H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15.</a:t>
              </a:r>
              <a:r>
                <a:rPr kumimoji="0" lang="es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Exenciones de ta</a:t>
              </a:r>
              <a:r>
                <a:rPr kumimoji="0" lang="en-CH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s</a:t>
              </a:r>
              <a:r>
                <a:rPr kumimoji="0" lang="es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as</a:t>
              </a:r>
            </a:p>
            <a:p>
              <a:pPr marL="0" marR="0" lvl="0" indent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" sz="9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Para la salud básica / educación</a:t>
              </a:r>
            </a:p>
          </p:txBody>
        </p:sp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D8866CFD-EB57-FCCD-A05C-9466A7E8D1E6}"/>
                </a:ext>
              </a:extLst>
            </p:cNvPr>
            <p:cNvSpPr txBox="1"/>
            <p:nvPr/>
          </p:nvSpPr>
          <p:spPr>
            <a:xfrm>
              <a:off x="5275991" y="5533920"/>
              <a:ext cx="1451487" cy="7408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H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16.</a:t>
              </a:r>
              <a:r>
                <a:rPr kumimoji="0" lang="es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Subven</a:t>
              </a:r>
              <a:r>
                <a:rPr kumimoji="0" lang="en-CH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-</a:t>
              </a:r>
            </a:p>
            <a:p>
              <a:pPr marL="0" marR="0" lvl="0" indent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anose="00000500000000000000" pitchFamily="2" charset="0"/>
                  <a:ea typeface="+mn-ea"/>
                  <a:cs typeface="+mn-cs"/>
                </a:rPr>
                <a:t>ciones</a:t>
              </a: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s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36" name="CuadroTexto 35">
              <a:extLst>
                <a:ext uri="{FF2B5EF4-FFF2-40B4-BE49-F238E27FC236}">
                  <a16:creationId xmlns:a16="http://schemas.microsoft.com/office/drawing/2014/main" id="{BFE0E939-0586-83F0-48AB-62C842281D74}"/>
                </a:ext>
              </a:extLst>
            </p:cNvPr>
            <p:cNvSpPr txBox="1"/>
            <p:nvPr/>
          </p:nvSpPr>
          <p:spPr>
            <a:xfrm>
              <a:off x="15354331" y="5649453"/>
              <a:ext cx="2331248" cy="34250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s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CH" sz="9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25. </a:t>
              </a:r>
              <a:r>
                <a:rPr kumimoji="0" lang="es" sz="9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Grupo de ahorro y </a:t>
              </a:r>
              <a:r>
                <a:rPr lang="en-CH" sz="900" dirty="0">
                  <a:solidFill>
                    <a:schemeClr val="bg1"/>
                  </a:solidFill>
                  <a:latin typeface="Montserrat"/>
                </a:rPr>
                <a:t>credito</a:t>
              </a:r>
              <a:endParaRPr kumimoji="0" lang="es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CH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CH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H" sz="900" dirty="0">
                  <a:solidFill>
                    <a:schemeClr val="bg1"/>
                  </a:solidFill>
                  <a:latin typeface="Montserrat"/>
                </a:rPr>
                <a:t>26. </a:t>
              </a:r>
              <a:r>
                <a:rPr kumimoji="0" lang="es" sz="9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Cocina comunitaria</a:t>
              </a: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CH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CH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H" sz="900" dirty="0">
                  <a:solidFill>
                    <a:schemeClr val="bg1"/>
                  </a:solidFill>
                  <a:latin typeface="Montserrat"/>
                </a:rPr>
                <a:t>27. </a:t>
              </a:r>
              <a:r>
                <a:rPr kumimoji="0" lang="es" sz="9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Banco de granos/semillas</a:t>
              </a:r>
              <a:endPara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CH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CH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CH" sz="900" dirty="0">
                  <a:solidFill>
                    <a:schemeClr val="bg1"/>
                  </a:solidFill>
                  <a:latin typeface="Montserrat"/>
                </a:rPr>
                <a:t>28. </a:t>
              </a:r>
              <a:r>
                <a:rPr kumimoji="0" lang="es" sz="9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Cooperativa (pesquera, agrícola,…)</a:t>
              </a:r>
              <a:endParaRPr kumimoji="0" lang="en-CH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lang="en-CH" sz="900" dirty="0">
                <a:solidFill>
                  <a:schemeClr val="bg1"/>
                </a:solidFill>
                <a:latin typeface="Montserrat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lang="en-CH" sz="900" dirty="0">
                <a:solidFill>
                  <a:schemeClr val="bg1"/>
                </a:solidFill>
                <a:latin typeface="Montserrat"/>
              </a:endParaRPr>
            </a:p>
            <a:p>
              <a:pPr marR="0" lvl="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CH" sz="90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29. </a:t>
              </a:r>
              <a:r>
                <a:rPr lang="en-CH" sz="900" dirty="0">
                  <a:solidFill>
                    <a:schemeClr val="bg1"/>
                  </a:solidFill>
                  <a:latin typeface="Montserrat"/>
                </a:rPr>
                <a:t>Club juvenil</a:t>
              </a:r>
              <a:endParaRPr kumimoji="0" lang="es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  <a:p>
              <a:pPr marL="190500" marR="0" lvl="0" indent="-190500" algn="l" defTabSz="6095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s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5AD28E4F-F429-D0A7-BDB2-72CC623003D1}"/>
              </a:ext>
            </a:extLst>
          </p:cNvPr>
          <p:cNvSpPr txBox="1"/>
          <p:nvPr/>
        </p:nvSpPr>
        <p:spPr>
          <a:xfrm>
            <a:off x="9033294" y="2717798"/>
            <a:ext cx="112378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H" sz="1050" b="1" dirty="0">
                <a:solidFill>
                  <a:schemeClr val="bg1"/>
                </a:solidFill>
                <a:latin typeface="Montserrat"/>
              </a:rPr>
              <a:t>Pasivas</a:t>
            </a:r>
            <a:endParaRPr kumimoji="0" lang="es" sz="105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79964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F7A80DD-B359-4C76-81BA-44D80E71AFB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5642" t="933" b="17225"/>
          <a:stretch/>
        </p:blipFill>
        <p:spPr>
          <a:xfrm>
            <a:off x="0" y="3395442"/>
            <a:ext cx="3671145" cy="352958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38624CD-BD23-2D2B-9A05-644580BE585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478" r="55884"/>
          <a:stretch/>
        </p:blipFill>
        <p:spPr>
          <a:xfrm>
            <a:off x="7777112" y="44825"/>
            <a:ext cx="4329543" cy="676834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6A667D0-1ACE-5E9F-94E6-175819710EF9}"/>
              </a:ext>
            </a:extLst>
          </p:cNvPr>
          <p:cNvSpPr txBox="1"/>
          <p:nvPr/>
        </p:nvSpPr>
        <p:spPr>
          <a:xfrm>
            <a:off x="122131" y="44825"/>
            <a:ext cx="7654980" cy="35591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n-CH" b="1" kern="1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LLECCIONE</a:t>
            </a:r>
            <a:r>
              <a:rPr lang="en-CH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LOS 2 TEMAS QUE TE GUSTARIA EXPLORAR:</a:t>
            </a:r>
          </a:p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fr-FR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1. </a:t>
            </a:r>
            <a:r>
              <a:rPr lang="en-CH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incular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TM y </a:t>
            </a:r>
            <a:r>
              <a:rPr lang="en-CH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sistencia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ocial</a:t>
            </a:r>
          </a:p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it-IT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. Acción anticipatoria y protecci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ó</a:t>
            </a:r>
            <a:r>
              <a:rPr lang="it-IT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 social, incl. DREF, seguro climático</a:t>
            </a:r>
            <a:endParaRPr lang="en-CH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3. </a:t>
            </a:r>
            <a:r>
              <a:rPr lang="es-E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edes de 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rotección</a:t>
            </a:r>
            <a:r>
              <a:rPr lang="es-E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s-E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munitari</a:t>
            </a:r>
            <a:r>
              <a:rPr lang="en-CH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s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/protección social </a:t>
            </a:r>
            <a:r>
              <a:rPr lang="en-CH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munitaria</a:t>
            </a:r>
            <a:endParaRPr lang="en-CH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4. Salud y protección social, incl. </a:t>
            </a:r>
            <a:r>
              <a:rPr lang="en-CH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eguros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CH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anitarios</a:t>
            </a:r>
            <a:endParaRPr lang="en-CH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800"/>
              </a:spcAft>
              <a:buNone/>
            </a:pP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5. </a:t>
            </a:r>
            <a:r>
              <a:rPr lang="en-CH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laborar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con las </a:t>
            </a:r>
            <a:r>
              <a:rPr lang="en-CH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utoridades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/</a:t>
            </a:r>
            <a:r>
              <a:rPr lang="en-CH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Ministerios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(</a:t>
            </a:r>
            <a:r>
              <a:rPr lang="en-CH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iplomacia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CH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umanitaria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 </a:t>
            </a:r>
            <a:r>
              <a:rPr lang="en-CH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fensa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para la protección social,...)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6. Protección social y </a:t>
            </a:r>
            <a:r>
              <a:rPr lang="en-CH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ambio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climático, incl. </a:t>
            </a:r>
            <a:r>
              <a:rPr lang="en-CH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ntribución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CH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terminada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a </a:t>
            </a:r>
            <a:r>
              <a:rPr lang="en-CH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ivel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Nacional (</a:t>
            </a:r>
            <a:r>
              <a:rPr lang="en-CH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DCs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), </a:t>
            </a:r>
            <a:r>
              <a:rPr lang="en-CH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érdidas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y </a:t>
            </a:r>
            <a:r>
              <a:rPr lang="en-CH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ños</a:t>
            </a:r>
            <a:r>
              <a:rPr lang="en-CH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...</a:t>
            </a:r>
          </a:p>
        </p:txBody>
      </p:sp>
      <p:pic>
        <p:nvPicPr>
          <p:cNvPr id="6" name="Picture 5" descr="A group of people carrying a person on their back&#10;&#10;AI-generated content may be incorrect.">
            <a:extLst>
              <a:ext uri="{FF2B5EF4-FFF2-40B4-BE49-F238E27FC236}">
                <a16:creationId xmlns:a16="http://schemas.microsoft.com/office/drawing/2014/main" id="{4A385DEF-0053-AE12-77B5-C0D6B5F348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20441" y="3783905"/>
            <a:ext cx="4256672" cy="275265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Picture 8" descr="A red heart on a white background&#10;&#10;AI-generated content may be incorrect.">
            <a:extLst>
              <a:ext uri="{FF2B5EF4-FFF2-40B4-BE49-F238E27FC236}">
                <a16:creationId xmlns:a16="http://schemas.microsoft.com/office/drawing/2014/main" id="{13258D9F-AA04-6875-6461-DF4C8CBC97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6464938" y="119507"/>
            <a:ext cx="421005" cy="403860"/>
          </a:xfrm>
          <a:prstGeom prst="rect">
            <a:avLst/>
          </a:prstGeom>
        </p:spPr>
      </p:pic>
      <p:pic>
        <p:nvPicPr>
          <p:cNvPr id="10" name="Picture 9" descr="A yellow thumb up symbol&#10;&#10;AI-generated content may be incorrect.">
            <a:extLst>
              <a:ext uri="{FF2B5EF4-FFF2-40B4-BE49-F238E27FC236}">
                <a16:creationId xmlns:a16="http://schemas.microsoft.com/office/drawing/2014/main" id="{8B049638-6C7F-67E6-0196-CE032DA81E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84512" y="119507"/>
            <a:ext cx="494030" cy="443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8291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RE">
      <a:dk1>
        <a:srgbClr val="323232"/>
      </a:dk1>
      <a:lt1>
        <a:sysClr val="window" lastClr="FFFFFF"/>
      </a:lt1>
      <a:dk2>
        <a:srgbClr val="EF3340"/>
      </a:dk2>
      <a:lt2>
        <a:srgbClr val="EDEDED"/>
      </a:lt2>
      <a:accent1>
        <a:srgbClr val="011E41"/>
      </a:accent1>
      <a:accent2>
        <a:srgbClr val="EF3340"/>
      </a:accent2>
      <a:accent3>
        <a:srgbClr val="011E41"/>
      </a:accent3>
      <a:accent4>
        <a:srgbClr val="EF3340"/>
      </a:accent4>
      <a:accent5>
        <a:srgbClr val="011E41"/>
      </a:accent5>
      <a:accent6>
        <a:srgbClr val="EF3340"/>
      </a:accent6>
      <a:hlink>
        <a:srgbClr val="0563C1"/>
      </a:hlink>
      <a:folHlink>
        <a:srgbClr val="F3636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3F3F3F"/>
      </a:lt1>
      <a:dk2>
        <a:srgbClr val="33394B"/>
      </a:dk2>
      <a:lt2>
        <a:srgbClr val="FFFFFF"/>
      </a:lt2>
      <a:accent1>
        <a:srgbClr val="001D41"/>
      </a:accent1>
      <a:accent2>
        <a:srgbClr val="E8E8E8"/>
      </a:accent2>
      <a:accent3>
        <a:srgbClr val="F5333F"/>
      </a:accent3>
      <a:accent4>
        <a:srgbClr val="F5333F"/>
      </a:accent4>
      <a:accent5>
        <a:srgbClr val="001D41"/>
      </a:accent5>
      <a:accent6>
        <a:srgbClr val="FF4E51"/>
      </a:accent6>
      <a:hlink>
        <a:srgbClr val="FFFFFF"/>
      </a:hlink>
      <a:folHlink>
        <a:srgbClr val="FFFF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32B36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older_x002d_Description xmlns="2e70e5bc-664e-41ab-a66e-614a088a08e1" xsi:nil="true"/>
    <TaxCatchAll xmlns="5376d360-0b52-40c4-9467-c69c6ee4beeb" xsi:nil="true"/>
    <lcf76f155ced4ddcb4097134ff3c332f xmlns="2e70e5bc-664e-41ab-a66e-614a088a08e1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F989BA9A53B3145B510381121F476E7" ma:contentTypeVersion="21" ma:contentTypeDescription="Create a new document." ma:contentTypeScope="" ma:versionID="5504bfbc37cef619aed1e8b69a8c2ce6">
  <xsd:schema xmlns:xsd="http://www.w3.org/2001/XMLSchema" xmlns:xs="http://www.w3.org/2001/XMLSchema" xmlns:p="http://schemas.microsoft.com/office/2006/metadata/properties" xmlns:ns2="2e70e5bc-664e-41ab-a66e-614a088a08e1" xmlns:ns3="5376d360-0b52-40c4-9467-c69c6ee4beeb" targetNamespace="http://schemas.microsoft.com/office/2006/metadata/properties" ma:root="true" ma:fieldsID="cea66f9787f060d5370b4599800e0545" ns2:_="" ns3:_="">
    <xsd:import namespace="2e70e5bc-664e-41ab-a66e-614a088a08e1"/>
    <xsd:import namespace="5376d360-0b52-40c4-9467-c69c6ee4bee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Folder_x002d_Description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70e5bc-664e-41ab-a66e-614a088a08e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hidden="true" ma:internalName="MediaServiceAutoTags" ma:readOnly="true">
      <xsd:simpleType>
        <xsd:restriction base="dms:Text"/>
      </xsd:simpleType>
    </xsd:element>
    <xsd:element name="MediaServiceLocation" ma:index="14" nillable="true" ma:displayName="Location" ma:hidden="true" ma:internalName="MediaServiceLocation" ma:readOnly="true">
      <xsd:simpleType>
        <xsd:restriction base="dms:Text"/>
      </xsd:simpleType>
    </xsd:element>
    <xsd:element name="MediaServiceOCR" ma:index="15" nillable="true" ma:displayName="Extracted Text" ma:hidden="true" ma:internalName="MediaServiceOCR" ma:readOnly="true">
      <xsd:simpleType>
        <xsd:restriction base="dms:Note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hidden="true" ma:internalName="MediaServiceKeyPoints" ma:readOnly="true">
      <xsd:simpleType>
        <xsd:restriction base="dms:Note"/>
      </xsd:simpleType>
    </xsd:element>
    <xsd:element name="MediaLengthInSeconds" ma:index="20" nillable="true" ma:displayName="Length (seconds)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214f832c-f6f1-485d-8901-6765a4832c5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Folder_x002d_Description" ma:index="24" nillable="true" ma:displayName="Folder-Description" ma:format="Dropdown" ma:hidden="true" ma:internalName="Folder_x002d_Description" ma:readOnly="false">
      <xsd:simpleType>
        <xsd:restriction base="dms:Note"/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7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76d360-0b52-40c4-9467-c69c6ee4bee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hidden="true" ma:internalName="SharedWithDetails" ma:readOnly="true">
      <xsd:simpleType>
        <xsd:restriction base="dms:Note"/>
      </xsd:simpleType>
    </xsd:element>
    <xsd:element name="TaxCatchAll" ma:index="23" nillable="true" ma:displayName="Taxonomy Catch All Column" ma:hidden="true" ma:list="{0bfac59c-34d0-4543-825b-927db84ce852}" ma:internalName="TaxCatchAll" ma:readOnly="false" ma:showField="CatchAllData" ma:web="5376d360-0b52-40c4-9467-c69c6ee4bee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B119812-5B29-497F-82F6-86234A1A292E}">
  <ds:schemaRefs>
    <ds:schemaRef ds:uri="http://schemas.microsoft.com/office/2006/metadata/properties"/>
    <ds:schemaRef ds:uri="http://schemas.microsoft.com/office/infopath/2007/PartnerControls"/>
    <ds:schemaRef ds:uri="2e70e5bc-664e-41ab-a66e-614a088a08e1"/>
    <ds:schemaRef ds:uri="5376d360-0b52-40c4-9467-c69c6ee4beeb"/>
  </ds:schemaRefs>
</ds:datastoreItem>
</file>

<file path=customXml/itemProps2.xml><?xml version="1.0" encoding="utf-8"?>
<ds:datastoreItem xmlns:ds="http://schemas.openxmlformats.org/officeDocument/2006/customXml" ds:itemID="{48D12005-529C-4BC2-B57C-6DEC99E7B55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11AC369-17FA-4802-B52A-88F13BFAC4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70e5bc-664e-41ab-a66e-614a088a08e1"/>
    <ds:schemaRef ds:uri="5376d360-0b52-40c4-9467-c69c6ee4bee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09</Words>
  <Application>Microsoft Office PowerPoint</Application>
  <PresentationFormat>Widescreen</PresentationFormat>
  <Paragraphs>157</Paragraphs>
  <Slides>5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1_Office Theme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IFR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lexandre Gachoud</dc:creator>
  <cp:lastModifiedBy>Alexandre Gachoud</cp:lastModifiedBy>
  <cp:revision>2</cp:revision>
  <dcterms:created xsi:type="dcterms:W3CDTF">2025-06-03T09:20:54Z</dcterms:created>
  <dcterms:modified xsi:type="dcterms:W3CDTF">2025-06-11T10:39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af3f7fd-5cd4-4287-9002-aceb9af13c42_Enabled">
    <vt:lpwstr>true</vt:lpwstr>
  </property>
  <property fmtid="{D5CDD505-2E9C-101B-9397-08002B2CF9AE}" pid="3" name="MSIP_Label_caf3f7fd-5cd4-4287-9002-aceb9af13c42_SetDate">
    <vt:lpwstr>2025-06-03T09:38:30Z</vt:lpwstr>
  </property>
  <property fmtid="{D5CDD505-2E9C-101B-9397-08002B2CF9AE}" pid="4" name="MSIP_Label_caf3f7fd-5cd4-4287-9002-aceb9af13c42_Method">
    <vt:lpwstr>Privileged</vt:lpwstr>
  </property>
  <property fmtid="{D5CDD505-2E9C-101B-9397-08002B2CF9AE}" pid="5" name="MSIP_Label_caf3f7fd-5cd4-4287-9002-aceb9af13c42_Name">
    <vt:lpwstr>Public</vt:lpwstr>
  </property>
  <property fmtid="{D5CDD505-2E9C-101B-9397-08002B2CF9AE}" pid="6" name="MSIP_Label_caf3f7fd-5cd4-4287-9002-aceb9af13c42_SiteId">
    <vt:lpwstr>a2b53be5-734e-4e6c-ab0d-d184f60fd917</vt:lpwstr>
  </property>
  <property fmtid="{D5CDD505-2E9C-101B-9397-08002B2CF9AE}" pid="7" name="MSIP_Label_caf3f7fd-5cd4-4287-9002-aceb9af13c42_ActionId">
    <vt:lpwstr>6e1cb0fa-6489-432c-b6d8-637915604c29</vt:lpwstr>
  </property>
  <property fmtid="{D5CDD505-2E9C-101B-9397-08002B2CF9AE}" pid="8" name="MSIP_Label_caf3f7fd-5cd4-4287-9002-aceb9af13c42_ContentBits">
    <vt:lpwstr>2</vt:lpwstr>
  </property>
  <property fmtid="{D5CDD505-2E9C-101B-9397-08002B2CF9AE}" pid="9" name="MSIP_Label_caf3f7fd-5cd4-4287-9002-aceb9af13c42_Tag">
    <vt:lpwstr>10, 0, 1, 1</vt:lpwstr>
  </property>
  <property fmtid="{D5CDD505-2E9C-101B-9397-08002B2CF9AE}" pid="10" name="ClassificationContentMarkingFooterLocations">
    <vt:lpwstr>1_Office Theme:8</vt:lpwstr>
  </property>
  <property fmtid="{D5CDD505-2E9C-101B-9397-08002B2CF9AE}" pid="11" name="ClassificationContentMarkingFooterText">
    <vt:lpwstr>Public</vt:lpwstr>
  </property>
  <property fmtid="{D5CDD505-2E9C-101B-9397-08002B2CF9AE}" pid="12" name="ContentTypeId">
    <vt:lpwstr>0x0101007F989BA9A53B3145B510381121F476E7</vt:lpwstr>
  </property>
</Properties>
</file>